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7"/>
  </p:notesMasterIdLst>
  <p:sldIdLst>
    <p:sldId id="256" r:id="rId4"/>
    <p:sldId id="261" r:id="rId5"/>
    <p:sldId id="269" r:id="rId6"/>
    <p:sldId id="280" r:id="rId7"/>
    <p:sldId id="281" r:id="rId8"/>
    <p:sldId id="282" r:id="rId9"/>
    <p:sldId id="268" r:id="rId10"/>
    <p:sldId id="288" r:id="rId11"/>
    <p:sldId id="283" r:id="rId12"/>
    <p:sldId id="284" r:id="rId13"/>
    <p:sldId id="285" r:id="rId14"/>
    <p:sldId id="286" r:id="rId15"/>
    <p:sldId id="28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7296" userDrawn="1">
          <p15:clr>
            <a:srgbClr val="A4A3A4"/>
          </p15:clr>
        </p15:guide>
        <p15:guide id="5" orient="horz" pos="39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600"/>
    <a:srgbClr val="D04A02"/>
    <a:srgbClr val="FD6E1F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5E1C5E-2295-443D-ABA0-062B303D8BB9}" v="3" dt="2023-01-22T10:36:25.157"/>
    <p1510:client id="{245DAD33-9E7A-46FD-9D1C-EC5C2C67E1E8}" v="52" dt="2023-01-23T10:02:58.974"/>
    <p1510:client id="{7A6C4F26-B443-4469-A00F-1FC012A04A67}" v="384" dt="2023-01-22T12:58:38.031"/>
    <p1510:client id="{93FF88F2-A96C-4FC1-BCCC-5109D3481F4E}" v="343" dt="2023-01-22T13:38:01.2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82"/>
      </p:cViewPr>
      <p:guideLst>
        <p:guide orient="horz" pos="2160"/>
        <p:guide pos="3817"/>
        <p:guide pos="384"/>
        <p:guide pos="7296"/>
        <p:guide orient="horz" pos="39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o Yifei" userId="S::yifei.guo@bsb-education.com::ec9ba764-6588-4406-abce-21d5996487a5" providerId="AD" clId="Web-{93FF88F2-A96C-4FC1-BCCC-5109D3481F4E}"/>
    <pc:docChg chg="addSld modSld sldOrd">
      <pc:chgData name="Guo Yifei" userId="S::yifei.guo@bsb-education.com::ec9ba764-6588-4406-abce-21d5996487a5" providerId="AD" clId="Web-{93FF88F2-A96C-4FC1-BCCC-5109D3481F4E}" dt="2023-01-22T13:38:01.211" v="215" actId="1076"/>
      <pc:docMkLst>
        <pc:docMk/>
      </pc:docMkLst>
      <pc:sldChg chg="addSp delSp modSp">
        <pc:chgData name="Guo Yifei" userId="S::yifei.guo@bsb-education.com::ec9ba764-6588-4406-abce-21d5996487a5" providerId="AD" clId="Web-{93FF88F2-A96C-4FC1-BCCC-5109D3481F4E}" dt="2023-01-22T13:34:46.147" v="142" actId="20577"/>
        <pc:sldMkLst>
          <pc:docMk/>
          <pc:sldMk cId="2365271220" sldId="256"/>
        </pc:sldMkLst>
        <pc:spChg chg="add mod">
          <ac:chgData name="Guo Yifei" userId="S::yifei.guo@bsb-education.com::ec9ba764-6588-4406-abce-21d5996487a5" providerId="AD" clId="Web-{93FF88F2-A96C-4FC1-BCCC-5109D3481F4E}" dt="2023-01-22T13:34:46.147" v="142" actId="20577"/>
          <ac:spMkLst>
            <pc:docMk/>
            <pc:sldMk cId="2365271220" sldId="256"/>
            <ac:spMk id="2" creationId="{EC37985B-A280-3C55-6C4F-901633F92A8C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2:59.623" v="106" actId="1076"/>
          <ac:spMkLst>
            <pc:docMk/>
            <pc:sldMk cId="2365271220" sldId="256"/>
            <ac:spMk id="14" creationId="{56C358A7-54F4-B05B-DDFD-625478E99B77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4:02.003" v="126" actId="20577"/>
          <ac:spMkLst>
            <pc:docMk/>
            <pc:sldMk cId="2365271220" sldId="256"/>
            <ac:spMk id="22" creationId="{F62D4712-3B9D-E47B-1F9D-6580B319A214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4:20.755" v="135" actId="20577"/>
          <ac:spMkLst>
            <pc:docMk/>
            <pc:sldMk cId="2365271220" sldId="256"/>
            <ac:spMk id="26" creationId="{21D832CE-D7FC-BCEB-E31F-251E79AF811C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2:50.169" v="104"/>
          <ac:spMkLst>
            <pc:docMk/>
            <pc:sldMk cId="2365271220" sldId="256"/>
            <ac:spMk id="30" creationId="{0BCA68DF-CC46-701F-211A-72740EF1DC11}"/>
          </ac:spMkLst>
        </pc:spChg>
        <pc:picChg chg="del">
          <ac:chgData name="Guo Yifei" userId="S::yifei.guo@bsb-education.com::ec9ba764-6588-4406-abce-21d5996487a5" providerId="AD" clId="Web-{93FF88F2-A96C-4FC1-BCCC-5109D3481F4E}" dt="2023-01-22T13:32:48.106" v="103"/>
          <ac:picMkLst>
            <pc:docMk/>
            <pc:sldMk cId="2365271220" sldId="256"/>
            <ac:picMk id="12" creationId="{0AC72C0A-1421-0990-5090-412AC7A0E401}"/>
          </ac:picMkLst>
        </pc:picChg>
        <pc:cxnChg chg="del">
          <ac:chgData name="Guo Yifei" userId="S::yifei.guo@bsb-education.com::ec9ba764-6588-4406-abce-21d5996487a5" providerId="AD" clId="Web-{93FF88F2-A96C-4FC1-BCCC-5109D3481F4E}" dt="2023-01-22T13:32:52.310" v="105"/>
          <ac:cxnSpMkLst>
            <pc:docMk/>
            <pc:sldMk cId="2365271220" sldId="256"/>
            <ac:cxnSpMk id="32" creationId="{A02C292B-3372-42B3-F0B3-B37B8C9DA6A0}"/>
          </ac:cxnSpMkLst>
        </pc:cxnChg>
      </pc:sldChg>
      <pc:sldChg chg="addSp delSp modSp ord">
        <pc:chgData name="Guo Yifei" userId="S::yifei.guo@bsb-education.com::ec9ba764-6588-4406-abce-21d5996487a5" providerId="AD" clId="Web-{93FF88F2-A96C-4FC1-BCCC-5109D3481F4E}" dt="2023-01-22T13:38:01.211" v="215" actId="1076"/>
        <pc:sldMkLst>
          <pc:docMk/>
          <pc:sldMk cId="3730284281" sldId="261"/>
        </pc:sldMkLst>
        <pc:spChg chg="mod">
          <ac:chgData name="Guo Yifei" userId="S::yifei.guo@bsb-education.com::ec9ba764-6588-4406-abce-21d5996487a5" providerId="AD" clId="Web-{93FF88F2-A96C-4FC1-BCCC-5109D3481F4E}" dt="2023-01-22T13:35:12.556" v="148" actId="20577"/>
          <ac:spMkLst>
            <pc:docMk/>
            <pc:sldMk cId="3730284281" sldId="261"/>
            <ac:spMk id="2" creationId="{8241EFEB-0A2E-F53B-A63F-F3E9DCE10B4A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51.897" v="210" actId="1076"/>
          <ac:spMkLst>
            <pc:docMk/>
            <pc:sldMk cId="3730284281" sldId="261"/>
            <ac:spMk id="13" creationId="{1DEC912B-3C2B-C42A-4A9F-A708E6556524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12.279" v="179"/>
          <ac:spMkLst>
            <pc:docMk/>
            <pc:sldMk cId="3730284281" sldId="261"/>
            <ac:spMk id="15" creationId="{D2CF2716-E627-3F99-4FA1-688E30E80872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36.084" v="207" actId="1076"/>
          <ac:spMkLst>
            <pc:docMk/>
            <pc:sldMk cId="3730284281" sldId="261"/>
            <ac:spMk id="16" creationId="{F60F6B6B-0B60-5C9E-7354-E1B05250738A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12.279" v="178"/>
          <ac:spMkLst>
            <pc:docMk/>
            <pc:sldMk cId="3730284281" sldId="261"/>
            <ac:spMk id="17" creationId="{F2D90E9D-5110-ED5F-CB38-17520C89A1F3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8:01.195" v="213" actId="1076"/>
          <ac:spMkLst>
            <pc:docMk/>
            <pc:sldMk cId="3730284281" sldId="261"/>
            <ac:spMk id="21" creationId="{C0963D9A-DD0F-55E7-FA49-BD10779C58A1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25.296" v="185"/>
          <ac:spMkLst>
            <pc:docMk/>
            <pc:sldMk cId="3730284281" sldId="261"/>
            <ac:spMk id="23" creationId="{BB8B1296-044C-CD67-86D9-35F3C1E4A756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51.897" v="211" actId="1076"/>
          <ac:spMkLst>
            <pc:docMk/>
            <pc:sldMk cId="3730284281" sldId="261"/>
            <ac:spMk id="26" creationId="{DF6A52AC-F0EA-CE5E-C9DC-79D2BED85E67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36.099" v="208" actId="1076"/>
          <ac:spMkLst>
            <pc:docMk/>
            <pc:sldMk cId="3730284281" sldId="261"/>
            <ac:spMk id="28" creationId="{AE57795A-F922-A766-507A-3B448582F6F3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8:01.211" v="214" actId="1076"/>
          <ac:spMkLst>
            <pc:docMk/>
            <pc:sldMk cId="3730284281" sldId="261"/>
            <ac:spMk id="29" creationId="{7EB4313C-D33A-3F62-3CBE-8B3175DDED29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19.233" v="182"/>
          <ac:spMkLst>
            <pc:docMk/>
            <pc:sldMk cId="3730284281" sldId="261"/>
            <ac:spMk id="30" creationId="{DE34AD6F-5C68-843F-AB35-9C725CE99E5C}"/>
          </ac:spMkLst>
        </pc:spChg>
        <pc:spChg chg="del mod">
          <ac:chgData name="Guo Yifei" userId="S::yifei.guo@bsb-education.com::ec9ba764-6588-4406-abce-21d5996487a5" providerId="AD" clId="Web-{93FF88F2-A96C-4FC1-BCCC-5109D3481F4E}" dt="2023-01-22T13:36:26.749" v="186"/>
          <ac:spMkLst>
            <pc:docMk/>
            <pc:sldMk cId="3730284281" sldId="261"/>
            <ac:spMk id="31" creationId="{3A06BD25-3742-3EEB-F385-6D62F4DA792A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28.796" v="187"/>
          <ac:spMkLst>
            <pc:docMk/>
            <pc:sldMk cId="3730284281" sldId="261"/>
            <ac:spMk id="35" creationId="{695346C3-F4F6-5555-5C3C-97B051E212CA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51.913" v="212" actId="1076"/>
          <ac:spMkLst>
            <pc:docMk/>
            <pc:sldMk cId="3730284281" sldId="261"/>
            <ac:spMk id="36" creationId="{629537AE-9FB3-89AD-E3EC-C86AC0AEDB1C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47.751" v="194"/>
          <ac:spMkLst>
            <pc:docMk/>
            <pc:sldMk cId="3730284281" sldId="261"/>
            <ac:spMk id="38" creationId="{C4FF156B-80A5-118D-3314-C125AFC856FD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7:36.099" v="209" actId="1076"/>
          <ac:spMkLst>
            <pc:docMk/>
            <pc:sldMk cId="3730284281" sldId="261"/>
            <ac:spMk id="39" creationId="{2AEE36DF-F65F-7F3E-7CE7-261573C5E97F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8:01.211" v="215" actId="1076"/>
          <ac:spMkLst>
            <pc:docMk/>
            <pc:sldMk cId="3730284281" sldId="261"/>
            <ac:spMk id="40" creationId="{3EF81011-CBAA-9E47-F7EC-27BE8D4D75F5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46.517" v="193"/>
          <ac:spMkLst>
            <pc:docMk/>
            <pc:sldMk cId="3730284281" sldId="261"/>
            <ac:spMk id="41" creationId="{970B061B-A917-7D71-7FDB-D6BD14F4AAFB}"/>
          </ac:spMkLst>
        </pc:spChg>
        <pc:spChg chg="del mod">
          <ac:chgData name="Guo Yifei" userId="S::yifei.guo@bsb-education.com::ec9ba764-6588-4406-abce-21d5996487a5" providerId="AD" clId="Web-{93FF88F2-A96C-4FC1-BCCC-5109D3481F4E}" dt="2023-01-22T13:36:35.734" v="190"/>
          <ac:spMkLst>
            <pc:docMk/>
            <pc:sldMk cId="3730284281" sldId="261"/>
            <ac:spMk id="42" creationId="{7FC5DDD8-2BA4-9748-7090-66320941210C}"/>
          </ac:spMkLst>
        </pc:spChg>
        <pc:spChg chg="add del mod">
          <ac:chgData name="Guo Yifei" userId="S::yifei.guo@bsb-education.com::ec9ba764-6588-4406-abce-21d5996487a5" providerId="AD" clId="Web-{93FF88F2-A96C-4FC1-BCCC-5109D3481F4E}" dt="2023-01-22T13:37:17.316" v="202"/>
          <ac:spMkLst>
            <pc:docMk/>
            <pc:sldMk cId="3730284281" sldId="261"/>
            <ac:spMk id="48" creationId="{20994E7D-F172-B6D9-21A7-F9E62D59D77F}"/>
          </ac:spMkLst>
        </pc:spChg>
        <pc:spChg chg="add del">
          <ac:chgData name="Guo Yifei" userId="S::yifei.guo@bsb-education.com::ec9ba764-6588-4406-abce-21d5996487a5" providerId="AD" clId="Web-{93FF88F2-A96C-4FC1-BCCC-5109D3481F4E}" dt="2023-01-22T13:37:15.301" v="201"/>
          <ac:spMkLst>
            <pc:docMk/>
            <pc:sldMk cId="3730284281" sldId="261"/>
            <ac:spMk id="51" creationId="{0E7DFD3C-E6CA-6591-1E80-DC053C9ACE43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5:57.669" v="173"/>
          <ac:spMkLst>
            <pc:docMk/>
            <pc:sldMk cId="3730284281" sldId="261"/>
            <ac:spMk id="53" creationId="{A75D4847-1A34-A57D-78FD-0E42AA707E1A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06.263" v="176"/>
          <ac:spMkLst>
            <pc:docMk/>
            <pc:sldMk cId="3730284281" sldId="261"/>
            <ac:spMk id="54" creationId="{C9A8DCE5-AFB5-E409-F453-A222FAFBB172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08.357" v="177"/>
          <ac:spMkLst>
            <pc:docMk/>
            <pc:sldMk cId="3730284281" sldId="261"/>
            <ac:spMk id="55" creationId="{231B074F-7530-DDD7-5B39-AAD57DD675E4}"/>
          </ac:spMkLst>
        </pc:spChg>
        <pc:spChg chg="del mod">
          <ac:chgData name="Guo Yifei" userId="S::yifei.guo@bsb-education.com::ec9ba764-6588-4406-abce-21d5996487a5" providerId="AD" clId="Web-{93FF88F2-A96C-4FC1-BCCC-5109D3481F4E}" dt="2023-01-22T13:36:17.483" v="181"/>
          <ac:spMkLst>
            <pc:docMk/>
            <pc:sldMk cId="3730284281" sldId="261"/>
            <ac:spMk id="56" creationId="{8D02A3E0-27EA-9B7A-9D37-8AF40C7C81E8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21.608" v="183"/>
          <ac:spMkLst>
            <pc:docMk/>
            <pc:sldMk cId="3730284281" sldId="261"/>
            <ac:spMk id="57" creationId="{343081E6-9D22-5025-57D5-18A7D2BDA54B}"/>
          </ac:spMkLst>
        </pc:spChg>
        <pc:spChg chg="del">
          <ac:chgData name="Guo Yifei" userId="S::yifei.guo@bsb-education.com::ec9ba764-6588-4406-abce-21d5996487a5" providerId="AD" clId="Web-{93FF88F2-A96C-4FC1-BCCC-5109D3481F4E}" dt="2023-01-22T13:36:31.609" v="188"/>
          <ac:spMkLst>
            <pc:docMk/>
            <pc:sldMk cId="3730284281" sldId="261"/>
            <ac:spMk id="58" creationId="{4C6E6AFF-B874-E66C-1075-20CF657CD57F}"/>
          </ac:spMkLst>
        </pc:spChg>
        <pc:picChg chg="add del">
          <ac:chgData name="Guo Yifei" userId="S::yifei.guo@bsb-education.com::ec9ba764-6588-4406-abce-21d5996487a5" providerId="AD" clId="Web-{93FF88F2-A96C-4FC1-BCCC-5109D3481F4E}" dt="2023-01-22T13:37:19.020" v="203"/>
          <ac:picMkLst>
            <pc:docMk/>
            <pc:sldMk cId="3730284281" sldId="261"/>
            <ac:picMk id="49" creationId="{B51503D7-79EE-3227-A9B0-E816B8FEDF8A}"/>
          </ac:picMkLst>
        </pc:picChg>
        <pc:picChg chg="del">
          <ac:chgData name="Guo Yifei" userId="S::yifei.guo@bsb-education.com::ec9ba764-6588-4406-abce-21d5996487a5" providerId="AD" clId="Web-{93FF88F2-A96C-4FC1-BCCC-5109D3481F4E}" dt="2023-01-22T13:37:19.863" v="204"/>
          <ac:picMkLst>
            <pc:docMk/>
            <pc:sldMk cId="3730284281" sldId="261"/>
            <ac:picMk id="50" creationId="{CF657499-EA47-1A08-FB6A-37F507BC1C58}"/>
          </ac:picMkLst>
        </pc:picChg>
      </pc:sldChg>
      <pc:sldChg chg="delSp ord">
        <pc:chgData name="Guo Yifei" userId="S::yifei.guo@bsb-education.com::ec9ba764-6588-4406-abce-21d5996487a5" providerId="AD" clId="Web-{93FF88F2-A96C-4FC1-BCCC-5109D3481F4E}" dt="2023-01-22T13:32:31.011" v="95"/>
        <pc:sldMkLst>
          <pc:docMk/>
          <pc:sldMk cId="2476890307" sldId="275"/>
        </pc:sldMkLst>
        <pc:spChg chg="del">
          <ac:chgData name="Guo Yifei" userId="S::yifei.guo@bsb-education.com::ec9ba764-6588-4406-abce-21d5996487a5" providerId="AD" clId="Web-{93FF88F2-A96C-4FC1-BCCC-5109D3481F4E}" dt="2023-01-22T13:32:24.167" v="93"/>
          <ac:spMkLst>
            <pc:docMk/>
            <pc:sldMk cId="2476890307" sldId="275"/>
            <ac:spMk id="13" creationId="{6CAEF7BA-AFE2-BBC1-39B3-BE108242BCC7}"/>
          </ac:spMkLst>
        </pc:spChg>
        <pc:picChg chg="del">
          <ac:chgData name="Guo Yifei" userId="S::yifei.guo@bsb-education.com::ec9ba764-6588-4406-abce-21d5996487a5" providerId="AD" clId="Web-{93FF88F2-A96C-4FC1-BCCC-5109D3481F4E}" dt="2023-01-22T13:32:26.354" v="94"/>
          <ac:picMkLst>
            <pc:docMk/>
            <pc:sldMk cId="2476890307" sldId="275"/>
            <ac:picMk id="11" creationId="{892E48F7-9BA3-942C-2F6A-61D012F960DD}"/>
          </ac:picMkLst>
        </pc:picChg>
      </pc:sldChg>
      <pc:sldChg chg="addSp delSp modSp">
        <pc:chgData name="Guo Yifei" userId="S::yifei.guo@bsb-education.com::ec9ba764-6588-4406-abce-21d5996487a5" providerId="AD" clId="Web-{93FF88F2-A96C-4FC1-BCCC-5109D3481F4E}" dt="2023-01-22T13:12:21.368" v="45" actId="20577"/>
        <pc:sldMkLst>
          <pc:docMk/>
          <pc:sldMk cId="1916878323" sldId="281"/>
        </pc:sldMkLst>
        <pc:spChg chg="add mod">
          <ac:chgData name="Guo Yifei" userId="S::yifei.guo@bsb-education.com::ec9ba764-6588-4406-abce-21d5996487a5" providerId="AD" clId="Web-{93FF88F2-A96C-4FC1-BCCC-5109D3481F4E}" dt="2023-01-22T12:59:49.224" v="3" actId="1076"/>
          <ac:spMkLst>
            <pc:docMk/>
            <pc:sldMk cId="1916878323" sldId="281"/>
            <ac:spMk id="11" creationId="{5FB08621-377A-46AA-8B62-857923344426}"/>
          </ac:spMkLst>
        </pc:spChg>
        <pc:spChg chg="add mod">
          <ac:chgData name="Guo Yifei" userId="S::yifei.guo@bsb-education.com::ec9ba764-6588-4406-abce-21d5996487a5" providerId="AD" clId="Web-{93FF88F2-A96C-4FC1-BCCC-5109D3481F4E}" dt="2023-01-22T13:10:08.123" v="37" actId="1076"/>
          <ac:spMkLst>
            <pc:docMk/>
            <pc:sldMk cId="1916878323" sldId="281"/>
            <ac:spMk id="14" creationId="{3038D2DE-C44F-613B-12BC-DB593ECC7691}"/>
          </ac:spMkLst>
        </pc:spChg>
        <pc:spChg chg="mod">
          <ac:chgData name="Guo Yifei" userId="S::yifei.guo@bsb-education.com::ec9ba764-6588-4406-abce-21d5996487a5" providerId="AD" clId="Web-{93FF88F2-A96C-4FC1-BCCC-5109D3481F4E}" dt="2023-01-22T13:12:21.368" v="45" actId="20577"/>
          <ac:spMkLst>
            <pc:docMk/>
            <pc:sldMk cId="1916878323" sldId="281"/>
            <ac:spMk id="40" creationId="{23E34560-C03A-9CB2-A1E3-9746AC9177AE}"/>
          </ac:spMkLst>
        </pc:spChg>
        <pc:picChg chg="add mod">
          <ac:chgData name="Guo Yifei" userId="S::yifei.guo@bsb-education.com::ec9ba764-6588-4406-abce-21d5996487a5" providerId="AD" clId="Web-{93FF88F2-A96C-4FC1-BCCC-5109D3481F4E}" dt="2023-01-22T13:02:38.941" v="30" actId="1076"/>
          <ac:picMkLst>
            <pc:docMk/>
            <pc:sldMk cId="1916878323" sldId="281"/>
            <ac:picMk id="12" creationId="{FFE271F9-A6F1-D715-8EB9-FCC557CDA11F}"/>
          </ac:picMkLst>
        </pc:picChg>
        <pc:picChg chg="del">
          <ac:chgData name="Guo Yifei" userId="S::yifei.guo@bsb-education.com::ec9ba764-6588-4406-abce-21d5996487a5" providerId="AD" clId="Web-{93FF88F2-A96C-4FC1-BCCC-5109D3481F4E}" dt="2023-01-22T13:02:22.284" v="24"/>
          <ac:picMkLst>
            <pc:docMk/>
            <pc:sldMk cId="1916878323" sldId="281"/>
            <ac:picMk id="15" creationId="{84856C47-42C1-709F-1C58-440BBD5A7B1C}"/>
          </ac:picMkLst>
        </pc:picChg>
        <pc:cxnChg chg="add mod">
          <ac:chgData name="Guo Yifei" userId="S::yifei.guo@bsb-education.com::ec9ba764-6588-4406-abce-21d5996487a5" providerId="AD" clId="Web-{93FF88F2-A96C-4FC1-BCCC-5109D3481F4E}" dt="2023-01-22T12:59:40.004" v="1" actId="1076"/>
          <ac:cxnSpMkLst>
            <pc:docMk/>
            <pc:sldMk cId="1916878323" sldId="281"/>
            <ac:cxnSpMk id="9" creationId="{45541E9A-5348-AC4A-1700-D29B2BBC0E53}"/>
          </ac:cxnSpMkLst>
        </pc:cxnChg>
        <pc:cxnChg chg="add mod">
          <ac:chgData name="Guo Yifei" userId="S::yifei.guo@bsb-education.com::ec9ba764-6588-4406-abce-21d5996487a5" providerId="AD" clId="Web-{93FF88F2-A96C-4FC1-BCCC-5109D3481F4E}" dt="2023-01-22T13:09:43.027" v="32" actId="1076"/>
          <ac:cxnSpMkLst>
            <pc:docMk/>
            <pc:sldMk cId="1916878323" sldId="281"/>
            <ac:cxnSpMk id="13" creationId="{6DE216EB-02EF-153A-05D3-91550718BD6D}"/>
          </ac:cxnSpMkLst>
        </pc:cxnChg>
      </pc:sldChg>
      <pc:sldChg chg="addSp delSp modSp">
        <pc:chgData name="Guo Yifei" userId="S::yifei.guo@bsb-education.com::ec9ba764-6588-4406-abce-21d5996487a5" providerId="AD" clId="Web-{93FF88F2-A96C-4FC1-BCCC-5109D3481F4E}" dt="2023-01-22T13:32:08.806" v="92" actId="20577"/>
        <pc:sldMkLst>
          <pc:docMk/>
          <pc:sldMk cId="1067079418" sldId="282"/>
        </pc:sldMkLst>
        <pc:spChg chg="mod">
          <ac:chgData name="Guo Yifei" userId="S::yifei.guo@bsb-education.com::ec9ba764-6588-4406-abce-21d5996487a5" providerId="AD" clId="Web-{93FF88F2-A96C-4FC1-BCCC-5109D3481F4E}" dt="2023-01-22T13:29:54.076" v="55" actId="20577"/>
          <ac:spMkLst>
            <pc:docMk/>
            <pc:sldMk cId="1067079418" sldId="282"/>
            <ac:spMk id="2" creationId="{8241EFEB-0A2E-F53B-A63F-F3E9DCE10B4A}"/>
          </ac:spMkLst>
        </pc:spChg>
        <pc:spChg chg="del mod">
          <ac:chgData name="Guo Yifei" userId="S::yifei.guo@bsb-education.com::ec9ba764-6588-4406-abce-21d5996487a5" providerId="AD" clId="Web-{93FF88F2-A96C-4FC1-BCCC-5109D3481F4E}" dt="2023-01-22T13:30:04.249" v="61"/>
          <ac:spMkLst>
            <pc:docMk/>
            <pc:sldMk cId="1067079418" sldId="282"/>
            <ac:spMk id="13" creationId="{F97FCEA2-E430-712B-606B-1C83B3DC569C}"/>
          </ac:spMkLst>
        </pc:spChg>
        <pc:spChg chg="mod">
          <ac:chgData name="Guo Yifei" userId="S::yifei.guo@bsb-education.com::ec9ba764-6588-4406-abce-21d5996487a5" providerId="AD" clId="Web-{93FF88F2-A96C-4FC1-BCCC-5109D3481F4E}" dt="2023-01-22T13:32:08.806" v="92" actId="20577"/>
          <ac:spMkLst>
            <pc:docMk/>
            <pc:sldMk cId="1067079418" sldId="282"/>
            <ac:spMk id="40" creationId="{23E34560-C03A-9CB2-A1E3-9746AC9177AE}"/>
          </ac:spMkLst>
        </pc:spChg>
        <pc:picChg chg="add mod">
          <ac:chgData name="Guo Yifei" userId="S::yifei.guo@bsb-education.com::ec9ba764-6588-4406-abce-21d5996487a5" providerId="AD" clId="Web-{93FF88F2-A96C-4FC1-BCCC-5109D3481F4E}" dt="2023-01-22T13:30:30.017" v="66" actId="14100"/>
          <ac:picMkLst>
            <pc:docMk/>
            <pc:sldMk cId="1067079418" sldId="282"/>
            <ac:picMk id="7" creationId="{1C29C4F7-225B-7DFD-76C8-C737A1E35138}"/>
          </ac:picMkLst>
        </pc:picChg>
        <pc:picChg chg="add mod">
          <ac:chgData name="Guo Yifei" userId="S::yifei.guo@bsb-education.com::ec9ba764-6588-4406-abce-21d5996487a5" providerId="AD" clId="Web-{93FF88F2-A96C-4FC1-BCCC-5109D3481F4E}" dt="2023-01-22T13:31:22.865" v="70" actId="14100"/>
          <ac:picMkLst>
            <pc:docMk/>
            <pc:sldMk cId="1067079418" sldId="282"/>
            <ac:picMk id="8" creationId="{320B9FDC-1D34-8DBD-EFC4-7568CE07B9EC}"/>
          </ac:picMkLst>
        </pc:picChg>
        <pc:picChg chg="del">
          <ac:chgData name="Guo Yifei" userId="S::yifei.guo@bsb-education.com::ec9ba764-6588-4406-abce-21d5996487a5" providerId="AD" clId="Web-{93FF88F2-A96C-4FC1-BCCC-5109D3481F4E}" dt="2023-01-22T13:29:55.576" v="56"/>
          <ac:picMkLst>
            <pc:docMk/>
            <pc:sldMk cId="1067079418" sldId="282"/>
            <ac:picMk id="9" creationId="{F8D54136-A9C5-5C07-78FC-A1DBE1FB28A9}"/>
          </ac:picMkLst>
        </pc:picChg>
        <pc:picChg chg="del">
          <ac:chgData name="Guo Yifei" userId="S::yifei.guo@bsb-education.com::ec9ba764-6588-4406-abce-21d5996487a5" providerId="AD" clId="Web-{93FF88F2-A96C-4FC1-BCCC-5109D3481F4E}" dt="2023-01-22T13:30:31.236" v="67"/>
          <ac:picMkLst>
            <pc:docMk/>
            <pc:sldMk cId="1067079418" sldId="282"/>
            <ac:picMk id="15" creationId="{84856C47-42C1-709F-1C58-440BBD5A7B1C}"/>
          </ac:picMkLst>
        </pc:picChg>
        <pc:cxnChg chg="del">
          <ac:chgData name="Guo Yifei" userId="S::yifei.guo@bsb-education.com::ec9ba764-6588-4406-abce-21d5996487a5" providerId="AD" clId="Web-{93FF88F2-A96C-4FC1-BCCC-5109D3481F4E}" dt="2023-01-22T13:29:56.811" v="57"/>
          <ac:cxnSpMkLst>
            <pc:docMk/>
            <pc:sldMk cId="1067079418" sldId="282"/>
            <ac:cxnSpMk id="11" creationId="{96D333F2-11D9-42CE-A5E2-28F61B18B8F8}"/>
          </ac:cxnSpMkLst>
        </pc:cxnChg>
      </pc:sldChg>
      <pc:sldChg chg="modSp add replId">
        <pc:chgData name="Guo Yifei" userId="S::yifei.guo@bsb-education.com::ec9ba764-6588-4406-abce-21d5996487a5" providerId="AD" clId="Web-{93FF88F2-A96C-4FC1-BCCC-5109D3481F4E}" dt="2023-01-22T13:32:41.028" v="102" actId="20577"/>
        <pc:sldMkLst>
          <pc:docMk/>
          <pc:sldMk cId="2927978168" sldId="283"/>
        </pc:sldMkLst>
        <pc:spChg chg="mod">
          <ac:chgData name="Guo Yifei" userId="S::yifei.guo@bsb-education.com::ec9ba764-6588-4406-abce-21d5996487a5" providerId="AD" clId="Web-{93FF88F2-A96C-4FC1-BCCC-5109D3481F4E}" dt="2023-01-22T13:32:41.028" v="102" actId="20577"/>
          <ac:spMkLst>
            <pc:docMk/>
            <pc:sldMk cId="2927978168" sldId="283"/>
            <ac:spMk id="10" creationId="{12D33C9E-18A0-1135-6F24-33D1BA2086D6}"/>
          </ac:spMkLst>
        </pc:spChg>
      </pc:sldChg>
    </pc:docChg>
  </pc:docChgLst>
  <pc:docChgLst>
    <pc:chgData name="Guo Yifei" userId="S::yifei.guo@bsb-education.com::ec9ba764-6588-4406-abce-21d5996487a5" providerId="AD" clId="Web-{0A5E1C5E-2295-443D-ABA0-062B303D8BB9}"/>
    <pc:docChg chg="delSld">
      <pc:chgData name="Guo Yifei" userId="S::yifei.guo@bsb-education.com::ec9ba764-6588-4406-abce-21d5996487a5" providerId="AD" clId="Web-{0A5E1C5E-2295-443D-ABA0-062B303D8BB9}" dt="2023-01-22T10:36:25.157" v="2"/>
      <pc:docMkLst>
        <pc:docMk/>
      </pc:docMkLst>
      <pc:sldChg chg="del">
        <pc:chgData name="Guo Yifei" userId="S::yifei.guo@bsb-education.com::ec9ba764-6588-4406-abce-21d5996487a5" providerId="AD" clId="Web-{0A5E1C5E-2295-443D-ABA0-062B303D8BB9}" dt="2023-01-22T10:36:22.360" v="0"/>
        <pc:sldMkLst>
          <pc:docMk/>
          <pc:sldMk cId="2855933007" sldId="302"/>
        </pc:sldMkLst>
      </pc:sldChg>
      <pc:sldChg chg="del">
        <pc:chgData name="Guo Yifei" userId="S::yifei.guo@bsb-education.com::ec9ba764-6588-4406-abce-21d5996487a5" providerId="AD" clId="Web-{0A5E1C5E-2295-443D-ABA0-062B303D8BB9}" dt="2023-01-22T10:36:23.595" v="1"/>
        <pc:sldMkLst>
          <pc:docMk/>
          <pc:sldMk cId="2932092484" sldId="303"/>
        </pc:sldMkLst>
      </pc:sldChg>
      <pc:sldChg chg="del">
        <pc:chgData name="Guo Yifei" userId="S::yifei.guo@bsb-education.com::ec9ba764-6588-4406-abce-21d5996487a5" providerId="AD" clId="Web-{0A5E1C5E-2295-443D-ABA0-062B303D8BB9}" dt="2023-01-22T10:36:25.157" v="2"/>
        <pc:sldMkLst>
          <pc:docMk/>
          <pc:sldMk cId="377815173" sldId="304"/>
        </pc:sldMkLst>
      </pc:sldChg>
    </pc:docChg>
  </pc:docChgLst>
  <pc:docChgLst>
    <pc:chgData name="Danilkina Valeriia" userId="S::valeriia.danilkina@bsb-education.com::41dbdc27-53b6-457e-a903-3362dfb9953d" providerId="AD" clId="Web-{245DAD33-9E7A-46FD-9D1C-EC5C2C67E1E8}"/>
    <pc:docChg chg="modSld">
      <pc:chgData name="Danilkina Valeriia" userId="S::valeriia.danilkina@bsb-education.com::41dbdc27-53b6-457e-a903-3362dfb9953d" providerId="AD" clId="Web-{245DAD33-9E7A-46FD-9D1C-EC5C2C67E1E8}" dt="2023-01-23T10:02:58.974" v="38" actId="1076"/>
      <pc:docMkLst>
        <pc:docMk/>
      </pc:docMkLst>
      <pc:sldChg chg="modSp">
        <pc:chgData name="Danilkina Valeriia" userId="S::valeriia.danilkina@bsb-education.com::41dbdc27-53b6-457e-a903-3362dfb9953d" providerId="AD" clId="Web-{245DAD33-9E7A-46FD-9D1C-EC5C2C67E1E8}" dt="2023-01-23T09:53:58.538" v="26" actId="20577"/>
        <pc:sldMkLst>
          <pc:docMk/>
          <pc:sldMk cId="3769103070" sldId="283"/>
        </pc:sldMkLst>
        <pc:spChg chg="mod">
          <ac:chgData name="Danilkina Valeriia" userId="S::valeriia.danilkina@bsb-education.com::41dbdc27-53b6-457e-a903-3362dfb9953d" providerId="AD" clId="Web-{245DAD33-9E7A-46FD-9D1C-EC5C2C67E1E8}" dt="2023-01-23T09:53:58.538" v="26" actId="20577"/>
          <ac:spMkLst>
            <pc:docMk/>
            <pc:sldMk cId="3769103070" sldId="283"/>
            <ac:spMk id="7" creationId="{00000000-0000-0000-0000-000000000000}"/>
          </ac:spMkLst>
        </pc:spChg>
      </pc:sldChg>
      <pc:sldChg chg="addSp modSp">
        <pc:chgData name="Danilkina Valeriia" userId="S::valeriia.danilkina@bsb-education.com::41dbdc27-53b6-457e-a903-3362dfb9953d" providerId="AD" clId="Web-{245DAD33-9E7A-46FD-9D1C-EC5C2C67E1E8}" dt="2023-01-23T10:02:58.974" v="38" actId="1076"/>
        <pc:sldMkLst>
          <pc:docMk/>
          <pc:sldMk cId="3533857195" sldId="284"/>
        </pc:sldMkLst>
        <pc:picChg chg="add mod">
          <ac:chgData name="Danilkina Valeriia" userId="S::valeriia.danilkina@bsb-education.com::41dbdc27-53b6-457e-a903-3362dfb9953d" providerId="AD" clId="Web-{245DAD33-9E7A-46FD-9D1C-EC5C2C67E1E8}" dt="2023-01-23T10:02:58.974" v="38" actId="1076"/>
          <ac:picMkLst>
            <pc:docMk/>
            <pc:sldMk cId="3533857195" sldId="284"/>
            <ac:picMk id="3" creationId="{88F69A63-6DB6-8DDE-E6FE-804F8B06B842}"/>
          </ac:picMkLst>
        </pc:picChg>
      </pc:sldChg>
      <pc:sldChg chg="modSp">
        <pc:chgData name="Danilkina Valeriia" userId="S::valeriia.danilkina@bsb-education.com::41dbdc27-53b6-457e-a903-3362dfb9953d" providerId="AD" clId="Web-{245DAD33-9E7A-46FD-9D1C-EC5C2C67E1E8}" dt="2023-01-23T09:57:52.232" v="32" actId="20577"/>
        <pc:sldMkLst>
          <pc:docMk/>
          <pc:sldMk cId="2825121047" sldId="285"/>
        </pc:sldMkLst>
        <pc:spChg chg="mod">
          <ac:chgData name="Danilkina Valeriia" userId="S::valeriia.danilkina@bsb-education.com::41dbdc27-53b6-457e-a903-3362dfb9953d" providerId="AD" clId="Web-{245DAD33-9E7A-46FD-9D1C-EC5C2C67E1E8}" dt="2023-01-23T09:57:52.232" v="32" actId="20577"/>
          <ac:spMkLst>
            <pc:docMk/>
            <pc:sldMk cId="2825121047" sldId="285"/>
            <ac:spMk id="28" creationId="{2F8C6580-59B0-778B-6634-9A030229A066}"/>
          </ac:spMkLst>
        </pc:spChg>
      </pc:sldChg>
      <pc:sldChg chg="modSp">
        <pc:chgData name="Danilkina Valeriia" userId="S::valeriia.danilkina@bsb-education.com::41dbdc27-53b6-457e-a903-3362dfb9953d" providerId="AD" clId="Web-{245DAD33-9E7A-46FD-9D1C-EC5C2C67E1E8}" dt="2023-01-23T09:58:08.716" v="33" actId="20577"/>
        <pc:sldMkLst>
          <pc:docMk/>
          <pc:sldMk cId="998975527" sldId="286"/>
        </pc:sldMkLst>
        <pc:spChg chg="mod">
          <ac:chgData name="Danilkina Valeriia" userId="S::valeriia.danilkina@bsb-education.com::41dbdc27-53b6-457e-a903-3362dfb9953d" providerId="AD" clId="Web-{245DAD33-9E7A-46FD-9D1C-EC5C2C67E1E8}" dt="2023-01-23T09:58:08.716" v="33" actId="20577"/>
          <ac:spMkLst>
            <pc:docMk/>
            <pc:sldMk cId="998975527" sldId="286"/>
            <ac:spMk id="7" creationId="{00000000-0000-0000-0000-000000000000}"/>
          </ac:spMkLst>
        </pc:spChg>
      </pc:sldChg>
    </pc:docChg>
  </pc:docChgLst>
  <pc:docChgLst>
    <pc:chgData name="Guo Yifei" userId="S::yifei.guo@bsb-education.com::ec9ba764-6588-4406-abce-21d5996487a5" providerId="AD" clId="Web-{7A6C4F26-B443-4469-A00F-1FC012A04A67}"/>
    <pc:docChg chg="addSld delSld modSld sldOrd">
      <pc:chgData name="Guo Yifei" userId="S::yifei.guo@bsb-education.com::ec9ba764-6588-4406-abce-21d5996487a5" providerId="AD" clId="Web-{7A6C4F26-B443-4469-A00F-1FC012A04A67}" dt="2023-01-22T12:58:35.766" v="286" actId="20577"/>
      <pc:docMkLst>
        <pc:docMk/>
      </pc:docMkLst>
      <pc:sldChg chg="addSp delSp modSp">
        <pc:chgData name="Guo Yifei" userId="S::yifei.guo@bsb-education.com::ec9ba764-6588-4406-abce-21d5996487a5" providerId="AD" clId="Web-{7A6C4F26-B443-4469-A00F-1FC012A04A67}" dt="2023-01-22T12:16:35.927" v="179" actId="20577"/>
        <pc:sldMkLst>
          <pc:docMk/>
          <pc:sldMk cId="477802839" sldId="269"/>
        </pc:sldMkLst>
        <pc:spChg chg="mod">
          <ac:chgData name="Guo Yifei" userId="S::yifei.guo@bsb-education.com::ec9ba764-6588-4406-abce-21d5996487a5" providerId="AD" clId="Web-{7A6C4F26-B443-4469-A00F-1FC012A04A67}" dt="2023-01-22T12:16:35.927" v="179" actId="20577"/>
          <ac:spMkLst>
            <pc:docMk/>
            <pc:sldMk cId="477802839" sldId="269"/>
            <ac:spMk id="2" creationId="{8241EFEB-0A2E-F53B-A63F-F3E9DCE10B4A}"/>
          </ac:spMkLst>
        </pc:spChg>
        <pc:spChg chg="del">
          <ac:chgData name="Guo Yifei" userId="S::yifei.guo@bsb-education.com::ec9ba764-6588-4406-abce-21d5996487a5" providerId="AD" clId="Web-{7A6C4F26-B443-4469-A00F-1FC012A04A67}" dt="2023-01-22T12:04:55.467" v="1"/>
          <ac:spMkLst>
            <pc:docMk/>
            <pc:sldMk cId="477802839" sldId="269"/>
            <ac:spMk id="8" creationId="{89FB0DE0-E706-5299-B5FB-80A05B699B73}"/>
          </ac:spMkLst>
        </pc:spChg>
        <pc:spChg chg="mod">
          <ac:chgData name="Guo Yifei" userId="S::yifei.guo@bsb-education.com::ec9ba764-6588-4406-abce-21d5996487a5" providerId="AD" clId="Web-{7A6C4F26-B443-4469-A00F-1FC012A04A67}" dt="2023-01-22T12:10:23.696" v="65" actId="20577"/>
          <ac:spMkLst>
            <pc:docMk/>
            <pc:sldMk cId="477802839" sldId="269"/>
            <ac:spMk id="9" creationId="{CEC07480-DD89-D732-8561-D2E805CC23EB}"/>
          </ac:spMkLst>
        </pc:spChg>
        <pc:spChg chg="mod">
          <ac:chgData name="Guo Yifei" userId="S::yifei.guo@bsb-education.com::ec9ba764-6588-4406-abce-21d5996487a5" providerId="AD" clId="Web-{7A6C4F26-B443-4469-A00F-1FC012A04A67}" dt="2023-01-22T12:10:42.666" v="78" actId="14100"/>
          <ac:spMkLst>
            <pc:docMk/>
            <pc:sldMk cId="477802839" sldId="269"/>
            <ac:spMk id="10" creationId="{AAA0F6C1-E9CE-FAA8-5A8C-2F4848CF0225}"/>
          </ac:spMkLst>
        </pc:spChg>
        <pc:spChg chg="del">
          <ac:chgData name="Guo Yifei" userId="S::yifei.guo@bsb-education.com::ec9ba764-6588-4406-abce-21d5996487a5" providerId="AD" clId="Web-{7A6C4F26-B443-4469-A00F-1FC012A04A67}" dt="2023-01-22T12:05:21.358" v="7"/>
          <ac:spMkLst>
            <pc:docMk/>
            <pc:sldMk cId="477802839" sldId="269"/>
            <ac:spMk id="17" creationId="{0F729010-AA96-FAF3-2691-6DE1E6095233}"/>
          </ac:spMkLst>
        </pc:spChg>
        <pc:spChg chg="del mod">
          <ac:chgData name="Guo Yifei" userId="S::yifei.guo@bsb-education.com::ec9ba764-6588-4406-abce-21d5996487a5" providerId="AD" clId="Web-{7A6C4F26-B443-4469-A00F-1FC012A04A67}" dt="2023-01-22T12:05:32.405" v="11"/>
          <ac:spMkLst>
            <pc:docMk/>
            <pc:sldMk cId="477802839" sldId="269"/>
            <ac:spMk id="22" creationId="{43941FC2-5A9C-4D90-9306-C517CAFBE9E6}"/>
          </ac:spMkLst>
        </pc:spChg>
        <pc:spChg chg="del">
          <ac:chgData name="Guo Yifei" userId="S::yifei.guo@bsb-education.com::ec9ba764-6588-4406-abce-21d5996487a5" providerId="AD" clId="Web-{7A6C4F26-B443-4469-A00F-1FC012A04A67}" dt="2023-01-22T12:05:35.608" v="13"/>
          <ac:spMkLst>
            <pc:docMk/>
            <pc:sldMk cId="477802839" sldId="269"/>
            <ac:spMk id="23" creationId="{EB5BC01C-DF64-25B0-162A-B8EB963AC514}"/>
          </ac:spMkLst>
        </pc:spChg>
        <pc:spChg chg="del">
          <ac:chgData name="Guo Yifei" userId="S::yifei.guo@bsb-education.com::ec9ba764-6588-4406-abce-21d5996487a5" providerId="AD" clId="Web-{7A6C4F26-B443-4469-A00F-1FC012A04A67}" dt="2023-01-22T12:05:38.343" v="15"/>
          <ac:spMkLst>
            <pc:docMk/>
            <pc:sldMk cId="477802839" sldId="269"/>
            <ac:spMk id="24" creationId="{16F22D1C-34D9-8DAE-4884-7B98FEBA17FF}"/>
          </ac:spMkLst>
        </pc:spChg>
        <pc:spChg chg="mod">
          <ac:chgData name="Guo Yifei" userId="S::yifei.guo@bsb-education.com::ec9ba764-6588-4406-abce-21d5996487a5" providerId="AD" clId="Web-{7A6C4F26-B443-4469-A00F-1FC012A04A67}" dt="2023-01-22T12:10:13.727" v="64" actId="20577"/>
          <ac:spMkLst>
            <pc:docMk/>
            <pc:sldMk cId="477802839" sldId="269"/>
            <ac:spMk id="31" creationId="{AFC8BAA5-AE63-F286-022D-B8E174455464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10:36.634" v="72" actId="1076"/>
          <ac:spMkLst>
            <pc:docMk/>
            <pc:sldMk cId="477802839" sldId="269"/>
            <ac:spMk id="34" creationId="{7E2897C2-2A61-2A9A-71A1-C87BCCB0F7A1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11:05.963" v="88" actId="20577"/>
          <ac:spMkLst>
            <pc:docMk/>
            <pc:sldMk cId="477802839" sldId="269"/>
            <ac:spMk id="35" creationId="{F79D73F4-9EF0-C25D-0F2F-F40301506AE9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11:17.370" v="96" actId="20577"/>
          <ac:spMkLst>
            <pc:docMk/>
            <pc:sldMk cId="477802839" sldId="269"/>
            <ac:spMk id="36" creationId="{D44B95E3-529B-8E1F-ADE5-E36058C44097}"/>
          </ac:spMkLst>
        </pc:spChg>
        <pc:spChg chg="add del mod">
          <ac:chgData name="Guo Yifei" userId="S::yifei.guo@bsb-education.com::ec9ba764-6588-4406-abce-21d5996487a5" providerId="AD" clId="Web-{7A6C4F26-B443-4469-A00F-1FC012A04A67}" dt="2023-01-22T12:11:46.027" v="99"/>
          <ac:spMkLst>
            <pc:docMk/>
            <pc:sldMk cId="477802839" sldId="269"/>
            <ac:spMk id="37" creationId="{EF3EB1F4-6048-1C65-129E-D094D720A05E}"/>
          </ac:spMkLst>
        </pc:spChg>
        <pc:spChg chg="add del">
          <ac:chgData name="Guo Yifei" userId="S::yifei.guo@bsb-education.com::ec9ba764-6588-4406-abce-21d5996487a5" providerId="AD" clId="Web-{7A6C4F26-B443-4469-A00F-1FC012A04A67}" dt="2023-01-22T12:11:49.887" v="101"/>
          <ac:spMkLst>
            <pc:docMk/>
            <pc:sldMk cId="477802839" sldId="269"/>
            <ac:spMk id="38" creationId="{75CFE1B1-A413-A6DF-17EE-CEE5F7BF937C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14:27.564" v="154" actId="14100"/>
          <ac:spMkLst>
            <pc:docMk/>
            <pc:sldMk cId="477802839" sldId="269"/>
            <ac:spMk id="40" creationId="{23E34560-C03A-9CB2-A1E3-9746AC9177AE}"/>
          </ac:spMkLst>
        </pc:spChg>
        <pc:spChg chg="add del">
          <ac:chgData name="Guo Yifei" userId="S::yifei.guo@bsb-education.com::ec9ba764-6588-4406-abce-21d5996487a5" providerId="AD" clId="Web-{7A6C4F26-B443-4469-A00F-1FC012A04A67}" dt="2023-01-22T12:15:01.862" v="156"/>
          <ac:spMkLst>
            <pc:docMk/>
            <pc:sldMk cId="477802839" sldId="269"/>
            <ac:spMk id="42" creationId="{356AA7CE-3D05-7D9D-F815-FF32DB53E6C6}"/>
          </ac:spMkLst>
        </pc:spChg>
        <pc:spChg chg="add del">
          <ac:chgData name="Guo Yifei" userId="S::yifei.guo@bsb-education.com::ec9ba764-6588-4406-abce-21d5996487a5" providerId="AD" clId="Web-{7A6C4F26-B443-4469-A00F-1FC012A04A67}" dt="2023-01-22T12:15:14.675" v="158"/>
          <ac:spMkLst>
            <pc:docMk/>
            <pc:sldMk cId="477802839" sldId="269"/>
            <ac:spMk id="43" creationId="{08488090-A65F-898B-4D13-9C08DE19C9B6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16:03.598" v="168" actId="20577"/>
          <ac:spMkLst>
            <pc:docMk/>
            <pc:sldMk cId="477802839" sldId="269"/>
            <ac:spMk id="45" creationId="{586FBF1E-ABB5-FE0F-8E17-409880622841}"/>
          </ac:spMkLst>
        </pc:spChg>
        <pc:grpChg chg="del">
          <ac:chgData name="Guo Yifei" userId="S::yifei.guo@bsb-education.com::ec9ba764-6588-4406-abce-21d5996487a5" providerId="AD" clId="Web-{7A6C4F26-B443-4469-A00F-1FC012A04A67}" dt="2023-01-22T12:06:28.282" v="22"/>
          <ac:grpSpMkLst>
            <pc:docMk/>
            <pc:sldMk cId="477802839" sldId="269"/>
            <ac:grpSpMk id="18" creationId="{DE9BFE5F-0B08-2E3A-9043-043C8CF7A396}"/>
          </ac:grpSpMkLst>
        </pc:grpChg>
        <pc:grpChg chg="del">
          <ac:chgData name="Guo Yifei" userId="S::yifei.guo@bsb-education.com::ec9ba764-6588-4406-abce-21d5996487a5" providerId="AD" clId="Web-{7A6C4F26-B443-4469-A00F-1FC012A04A67}" dt="2023-01-22T12:06:29.532" v="23"/>
          <ac:grpSpMkLst>
            <pc:docMk/>
            <pc:sldMk cId="477802839" sldId="269"/>
            <ac:grpSpMk id="19" creationId="{D537DE59-0706-9248-73EC-5FBCE2F9F7DE}"/>
          </ac:grpSpMkLst>
        </pc:grpChg>
        <pc:grpChg chg="del mod">
          <ac:chgData name="Guo Yifei" userId="S::yifei.guo@bsb-education.com::ec9ba764-6588-4406-abce-21d5996487a5" providerId="AD" clId="Web-{7A6C4F26-B443-4469-A00F-1FC012A04A67}" dt="2023-01-22T12:10:48.119" v="79"/>
          <ac:grpSpMkLst>
            <pc:docMk/>
            <pc:sldMk cId="477802839" sldId="269"/>
            <ac:grpSpMk id="20" creationId="{42EB4F1C-3106-60BF-A55D-704CF136CF26}"/>
          </ac:grpSpMkLst>
        </pc:grpChg>
        <pc:grpChg chg="del mod">
          <ac:chgData name="Guo Yifei" userId="S::yifei.guo@bsb-education.com::ec9ba764-6588-4406-abce-21d5996487a5" providerId="AD" clId="Web-{7A6C4F26-B443-4469-A00F-1FC012A04A67}" dt="2023-01-22T12:10:25.368" v="66"/>
          <ac:grpSpMkLst>
            <pc:docMk/>
            <pc:sldMk cId="477802839" sldId="269"/>
            <ac:grpSpMk id="21" creationId="{6AB5D63C-CDDD-F2E7-77EC-56EEE1CC83AA}"/>
          </ac:grpSpMkLst>
        </pc:grpChg>
        <pc:grpChg chg="add del mod">
          <ac:chgData name="Guo Yifei" userId="S::yifei.guo@bsb-education.com::ec9ba764-6588-4406-abce-21d5996487a5" providerId="AD" clId="Web-{7A6C4F26-B443-4469-A00F-1FC012A04A67}" dt="2023-01-22T12:11:08.666" v="89"/>
          <ac:grpSpMkLst>
            <pc:docMk/>
            <pc:sldMk cId="477802839" sldId="269"/>
            <ac:grpSpMk id="30" creationId="{7B429104-C5AD-834B-B4C8-F57531E40BA7}"/>
          </ac:grpSpMkLst>
        </pc:grpChg>
        <pc:picChg chg="add mod">
          <ac:chgData name="Guo Yifei" userId="S::yifei.guo@bsb-education.com::ec9ba764-6588-4406-abce-21d5996487a5" providerId="AD" clId="Web-{7A6C4F26-B443-4469-A00F-1FC012A04A67}" dt="2023-01-22T12:10:34.322" v="71" actId="1076"/>
          <ac:picMkLst>
            <pc:docMk/>
            <pc:sldMk cId="477802839" sldId="269"/>
            <ac:picMk id="7" creationId="{CA03B0E0-DFAB-3413-260A-57A7AC4EFEAF}"/>
          </ac:picMkLst>
        </pc:picChg>
        <pc:picChg chg="add del mod">
          <ac:chgData name="Guo Yifei" userId="S::yifei.guo@bsb-education.com::ec9ba764-6588-4406-abce-21d5996487a5" providerId="AD" clId="Web-{7A6C4F26-B443-4469-A00F-1FC012A04A67}" dt="2023-01-22T12:08:20.473" v="40"/>
          <ac:picMkLst>
            <pc:docMk/>
            <pc:sldMk cId="477802839" sldId="269"/>
            <ac:picMk id="25" creationId="{878E2909-938E-72F4-B1DD-DA983DB3DBA3}"/>
          </ac:picMkLst>
        </pc:picChg>
        <pc:picChg chg="add del mod">
          <ac:chgData name="Guo Yifei" userId="S::yifei.guo@bsb-education.com::ec9ba764-6588-4406-abce-21d5996487a5" providerId="AD" clId="Web-{7A6C4F26-B443-4469-A00F-1FC012A04A67}" dt="2023-01-22T12:12:45.388" v="107"/>
          <ac:picMkLst>
            <pc:docMk/>
            <pc:sldMk cId="477802839" sldId="269"/>
            <ac:picMk id="29" creationId="{4749F31F-0B7A-A7D2-AFEE-715348153095}"/>
          </ac:picMkLst>
        </pc:picChg>
        <pc:picChg chg="add mod">
          <ac:chgData name="Guo Yifei" userId="S::yifei.guo@bsb-education.com::ec9ba764-6588-4406-abce-21d5996487a5" providerId="AD" clId="Web-{7A6C4F26-B443-4469-A00F-1FC012A04A67}" dt="2023-01-22T12:13:23.358" v="118" actId="1076"/>
          <ac:picMkLst>
            <pc:docMk/>
            <pc:sldMk cId="477802839" sldId="269"/>
            <ac:picMk id="41" creationId="{8CBD3A75-B54D-F961-AF18-8ECB9FE6BE60}"/>
          </ac:picMkLst>
        </pc:picChg>
        <pc:cxnChg chg="del">
          <ac:chgData name="Guo Yifei" userId="S::yifei.guo@bsb-education.com::ec9ba764-6588-4406-abce-21d5996487a5" providerId="AD" clId="Web-{7A6C4F26-B443-4469-A00F-1FC012A04A67}" dt="2023-01-22T12:05:23.874" v="8"/>
          <ac:cxnSpMkLst>
            <pc:docMk/>
            <pc:sldMk cId="477802839" sldId="269"/>
            <ac:cxnSpMk id="26" creationId="{BA643376-1997-BCE6-6EB9-3CE874FD9205}"/>
          </ac:cxnSpMkLst>
        </pc:cxnChg>
        <pc:cxnChg chg="del">
          <ac:chgData name="Guo Yifei" userId="S::yifei.guo@bsb-education.com::ec9ba764-6588-4406-abce-21d5996487a5" providerId="AD" clId="Web-{7A6C4F26-B443-4469-A00F-1FC012A04A67}" dt="2023-01-22T12:05:33.765" v="12"/>
          <ac:cxnSpMkLst>
            <pc:docMk/>
            <pc:sldMk cId="477802839" sldId="269"/>
            <ac:cxnSpMk id="27" creationId="{78A69EBF-D4BF-2FD7-EE74-DCE3D2A92E1E}"/>
          </ac:cxnSpMkLst>
        </pc:cxnChg>
        <pc:cxnChg chg="del">
          <ac:chgData name="Guo Yifei" userId="S::yifei.guo@bsb-education.com::ec9ba764-6588-4406-abce-21d5996487a5" providerId="AD" clId="Web-{7A6C4F26-B443-4469-A00F-1FC012A04A67}" dt="2023-01-22T12:05:37.015" v="14"/>
          <ac:cxnSpMkLst>
            <pc:docMk/>
            <pc:sldMk cId="477802839" sldId="269"/>
            <ac:cxnSpMk id="28" creationId="{923EAA35-C00F-F35A-B902-9015A21E5602}"/>
          </ac:cxnSpMkLst>
        </pc:cxnChg>
        <pc:cxnChg chg="add mod">
          <ac:chgData name="Guo Yifei" userId="S::yifei.guo@bsb-education.com::ec9ba764-6588-4406-abce-21d5996487a5" providerId="AD" clId="Web-{7A6C4F26-B443-4469-A00F-1FC012A04A67}" dt="2023-01-22T12:15:53.660" v="165" actId="1076"/>
          <ac:cxnSpMkLst>
            <pc:docMk/>
            <pc:sldMk cId="477802839" sldId="269"/>
            <ac:cxnSpMk id="44" creationId="{47568EBD-95E4-25D1-6306-AE0357AFDA13}"/>
          </ac:cxnSpMkLst>
        </pc:cxnChg>
      </pc:sldChg>
      <pc:sldChg chg="modSp add ord replId">
        <pc:chgData name="Guo Yifei" userId="S::yifei.guo@bsb-education.com::ec9ba764-6588-4406-abce-21d5996487a5" providerId="AD" clId="Web-{7A6C4F26-B443-4469-A00F-1FC012A04A67}" dt="2023-01-22T12:17:25.507" v="188" actId="20577"/>
        <pc:sldMkLst>
          <pc:docMk/>
          <pc:sldMk cId="3102642119" sldId="279"/>
        </pc:sldMkLst>
        <pc:spChg chg="mod">
          <ac:chgData name="Guo Yifei" userId="S::yifei.guo@bsb-education.com::ec9ba764-6588-4406-abce-21d5996487a5" providerId="AD" clId="Web-{7A6C4F26-B443-4469-A00F-1FC012A04A67}" dt="2023-01-22T12:17:19.304" v="184" actId="20577"/>
          <ac:spMkLst>
            <pc:docMk/>
            <pc:sldMk cId="3102642119" sldId="279"/>
            <ac:spMk id="19" creationId="{EE3CFC18-2BCB-8B87-A1C5-117E44E3C180}"/>
          </ac:spMkLst>
        </pc:spChg>
        <pc:spChg chg="mod">
          <ac:chgData name="Guo Yifei" userId="S::yifei.guo@bsb-education.com::ec9ba764-6588-4406-abce-21d5996487a5" providerId="AD" clId="Web-{7A6C4F26-B443-4469-A00F-1FC012A04A67}" dt="2023-01-22T12:17:25.507" v="188" actId="20577"/>
          <ac:spMkLst>
            <pc:docMk/>
            <pc:sldMk cId="3102642119" sldId="279"/>
            <ac:spMk id="22" creationId="{5E26A09B-0265-E662-866E-659C6C6ACB2C}"/>
          </ac:spMkLst>
        </pc:spChg>
      </pc:sldChg>
      <pc:sldChg chg="addSp delSp modSp add replId">
        <pc:chgData name="Guo Yifei" userId="S::yifei.guo@bsb-education.com::ec9ba764-6588-4406-abce-21d5996487a5" providerId="AD" clId="Web-{7A6C4F26-B443-4469-A00F-1FC012A04A67}" dt="2023-01-22T12:44:59.797" v="266" actId="14100"/>
        <pc:sldMkLst>
          <pc:docMk/>
          <pc:sldMk cId="3195354054" sldId="280"/>
        </pc:sldMkLst>
        <pc:spChg chg="mod">
          <ac:chgData name="Guo Yifei" userId="S::yifei.guo@bsb-education.com::ec9ba764-6588-4406-abce-21d5996487a5" providerId="AD" clId="Web-{7A6C4F26-B443-4469-A00F-1FC012A04A67}" dt="2023-01-22T12:24:25.678" v="198" actId="20577"/>
          <ac:spMkLst>
            <pc:docMk/>
            <pc:sldMk cId="3195354054" sldId="280"/>
            <ac:spMk id="2" creationId="{8241EFEB-0A2E-F53B-A63F-F3E9DCE10B4A}"/>
          </ac:spMkLst>
        </pc:spChg>
        <pc:spChg chg="add mod">
          <ac:chgData name="Guo Yifei" userId="S::yifei.guo@bsb-education.com::ec9ba764-6588-4406-abce-21d5996487a5" providerId="AD" clId="Web-{7A6C4F26-B443-4469-A00F-1FC012A04A67}" dt="2023-01-22T12:41:02.820" v="223" actId="1076"/>
          <ac:spMkLst>
            <pc:docMk/>
            <pc:sldMk cId="3195354054" sldId="280"/>
            <ac:spMk id="13" creationId="{F97FCEA2-E430-712B-606B-1C83B3DC569C}"/>
          </ac:spMkLst>
        </pc:spChg>
        <pc:spChg chg="mod">
          <ac:chgData name="Guo Yifei" userId="S::yifei.guo@bsb-education.com::ec9ba764-6588-4406-abce-21d5996487a5" providerId="AD" clId="Web-{7A6C4F26-B443-4469-A00F-1FC012A04A67}" dt="2023-01-22T12:44:17.326" v="251" actId="20577"/>
          <ac:spMkLst>
            <pc:docMk/>
            <pc:sldMk cId="3195354054" sldId="280"/>
            <ac:spMk id="40" creationId="{23E34560-C03A-9CB2-A1E3-9746AC9177AE}"/>
          </ac:spMkLst>
        </pc:spChg>
        <pc:spChg chg="del">
          <ac:chgData name="Guo Yifei" userId="S::yifei.guo@bsb-education.com::ec9ba764-6588-4406-abce-21d5996487a5" providerId="AD" clId="Web-{7A6C4F26-B443-4469-A00F-1FC012A04A67}" dt="2023-01-22T12:24:45.038" v="206"/>
          <ac:spMkLst>
            <pc:docMk/>
            <pc:sldMk cId="3195354054" sldId="280"/>
            <ac:spMk id="45" creationId="{586FBF1E-ABB5-FE0F-8E17-409880622841}"/>
          </ac:spMkLst>
        </pc:spChg>
        <pc:picChg chg="del">
          <ac:chgData name="Guo Yifei" userId="S::yifei.guo@bsb-education.com::ec9ba764-6588-4406-abce-21d5996487a5" providerId="AD" clId="Web-{7A6C4F26-B443-4469-A00F-1FC012A04A67}" dt="2023-01-22T12:24:26.818" v="199"/>
          <ac:picMkLst>
            <pc:docMk/>
            <pc:sldMk cId="3195354054" sldId="280"/>
            <ac:picMk id="7" creationId="{CA03B0E0-DFAB-3413-260A-57A7AC4EFEAF}"/>
          </ac:picMkLst>
        </pc:picChg>
        <pc:picChg chg="add del mod">
          <ac:chgData name="Guo Yifei" userId="S::yifei.guo@bsb-education.com::ec9ba764-6588-4406-abce-21d5996487a5" providerId="AD" clId="Web-{7A6C4F26-B443-4469-A00F-1FC012A04A67}" dt="2023-01-22T12:40:12.631" v="211"/>
          <ac:picMkLst>
            <pc:docMk/>
            <pc:sldMk cId="3195354054" sldId="280"/>
            <ac:picMk id="8" creationId="{6EA1B109-7293-A218-AA66-EF71485374DC}"/>
          </ac:picMkLst>
        </pc:picChg>
        <pc:picChg chg="add mod">
          <ac:chgData name="Guo Yifei" userId="S::yifei.guo@bsb-education.com::ec9ba764-6588-4406-abce-21d5996487a5" providerId="AD" clId="Web-{7A6C4F26-B443-4469-A00F-1FC012A04A67}" dt="2023-01-22T12:40:40.913" v="219" actId="14100"/>
          <ac:picMkLst>
            <pc:docMk/>
            <pc:sldMk cId="3195354054" sldId="280"/>
            <ac:picMk id="9" creationId="{F8D54136-A9C5-5C07-78FC-A1DBE1FB28A9}"/>
          </ac:picMkLst>
        </pc:picChg>
        <pc:picChg chg="add del mod">
          <ac:chgData name="Guo Yifei" userId="S::yifei.guo@bsb-education.com::ec9ba764-6588-4406-abce-21d5996487a5" providerId="AD" clId="Web-{7A6C4F26-B443-4469-A00F-1FC012A04A67}" dt="2023-01-22T12:44:36.671" v="260"/>
          <ac:picMkLst>
            <pc:docMk/>
            <pc:sldMk cId="3195354054" sldId="280"/>
            <ac:picMk id="14" creationId="{85714CAB-BB0B-94B6-9E95-3ABE89AD64B7}"/>
          </ac:picMkLst>
        </pc:picChg>
        <pc:picChg chg="add mod">
          <ac:chgData name="Guo Yifei" userId="S::yifei.guo@bsb-education.com::ec9ba764-6588-4406-abce-21d5996487a5" providerId="AD" clId="Web-{7A6C4F26-B443-4469-A00F-1FC012A04A67}" dt="2023-01-22T12:44:59.797" v="266" actId="14100"/>
          <ac:picMkLst>
            <pc:docMk/>
            <pc:sldMk cId="3195354054" sldId="280"/>
            <ac:picMk id="15" creationId="{84856C47-42C1-709F-1C58-440BBD5A7B1C}"/>
          </ac:picMkLst>
        </pc:picChg>
        <pc:picChg chg="del mod">
          <ac:chgData name="Guo Yifei" userId="S::yifei.guo@bsb-education.com::ec9ba764-6588-4406-abce-21d5996487a5" providerId="AD" clId="Web-{7A6C4F26-B443-4469-A00F-1FC012A04A67}" dt="2023-01-22T12:44:18.030" v="252"/>
          <ac:picMkLst>
            <pc:docMk/>
            <pc:sldMk cId="3195354054" sldId="280"/>
            <ac:picMk id="41" creationId="{8CBD3A75-B54D-F961-AF18-8ECB9FE6BE60}"/>
          </ac:picMkLst>
        </pc:picChg>
        <pc:cxnChg chg="add mod">
          <ac:chgData name="Guo Yifei" userId="S::yifei.guo@bsb-education.com::ec9ba764-6588-4406-abce-21d5996487a5" providerId="AD" clId="Web-{7A6C4F26-B443-4469-A00F-1FC012A04A67}" dt="2023-01-22T12:40:51.413" v="221" actId="1076"/>
          <ac:cxnSpMkLst>
            <pc:docMk/>
            <pc:sldMk cId="3195354054" sldId="280"/>
            <ac:cxnSpMk id="11" creationId="{96D333F2-11D9-42CE-A5E2-28F61B18B8F8}"/>
          </ac:cxnSpMkLst>
        </pc:cxnChg>
        <pc:cxnChg chg="del">
          <ac:chgData name="Guo Yifei" userId="S::yifei.guo@bsb-education.com::ec9ba764-6588-4406-abce-21d5996487a5" providerId="AD" clId="Web-{7A6C4F26-B443-4469-A00F-1FC012A04A67}" dt="2023-01-22T12:24:42.600" v="205"/>
          <ac:cxnSpMkLst>
            <pc:docMk/>
            <pc:sldMk cId="3195354054" sldId="280"/>
            <ac:cxnSpMk id="44" creationId="{47568EBD-95E4-25D1-6306-AE0357AFDA13}"/>
          </ac:cxnSpMkLst>
        </pc:cxnChg>
      </pc:sldChg>
      <pc:sldChg chg="addSp delSp modSp add replId">
        <pc:chgData name="Guo Yifei" userId="S::yifei.guo@bsb-education.com::ec9ba764-6588-4406-abce-21d5996487a5" providerId="AD" clId="Web-{7A6C4F26-B443-4469-A00F-1FC012A04A67}" dt="2023-01-22T12:58:35.766" v="286" actId="20577"/>
        <pc:sldMkLst>
          <pc:docMk/>
          <pc:sldMk cId="1916878323" sldId="281"/>
        </pc:sldMkLst>
        <pc:spChg chg="mod">
          <ac:chgData name="Guo Yifei" userId="S::yifei.guo@bsb-education.com::ec9ba764-6588-4406-abce-21d5996487a5" providerId="AD" clId="Web-{7A6C4F26-B443-4469-A00F-1FC012A04A67}" dt="2023-01-22T12:58:35.766" v="286" actId="20577"/>
          <ac:spMkLst>
            <pc:docMk/>
            <pc:sldMk cId="1916878323" sldId="281"/>
            <ac:spMk id="2" creationId="{8241EFEB-0A2E-F53B-A63F-F3E9DCE10B4A}"/>
          </ac:spMkLst>
        </pc:spChg>
        <pc:spChg chg="del">
          <ac:chgData name="Guo Yifei" userId="S::yifei.guo@bsb-education.com::ec9ba764-6588-4406-abce-21d5996487a5" providerId="AD" clId="Web-{7A6C4F26-B443-4469-A00F-1FC012A04A67}" dt="2023-01-22T12:58:00.921" v="270"/>
          <ac:spMkLst>
            <pc:docMk/>
            <pc:sldMk cId="1916878323" sldId="281"/>
            <ac:spMk id="13" creationId="{F97FCEA2-E430-712B-606B-1C83B3DC569C}"/>
          </ac:spMkLst>
        </pc:spChg>
        <pc:picChg chg="add mod">
          <ac:chgData name="Guo Yifei" userId="S::yifei.guo@bsb-education.com::ec9ba764-6588-4406-abce-21d5996487a5" providerId="AD" clId="Web-{7A6C4F26-B443-4469-A00F-1FC012A04A67}" dt="2023-01-22T12:58:28.140" v="278" actId="14100"/>
          <ac:picMkLst>
            <pc:docMk/>
            <pc:sldMk cId="1916878323" sldId="281"/>
            <ac:picMk id="7" creationId="{944894F4-768E-424E-5BBA-FA911BD440FA}"/>
          </ac:picMkLst>
        </pc:picChg>
        <pc:picChg chg="del">
          <ac:chgData name="Guo Yifei" userId="S::yifei.guo@bsb-education.com::ec9ba764-6588-4406-abce-21d5996487a5" providerId="AD" clId="Web-{7A6C4F26-B443-4469-A00F-1FC012A04A67}" dt="2023-01-22T12:57:58.108" v="268"/>
          <ac:picMkLst>
            <pc:docMk/>
            <pc:sldMk cId="1916878323" sldId="281"/>
            <ac:picMk id="9" creationId="{F8D54136-A9C5-5C07-78FC-A1DBE1FB28A9}"/>
          </ac:picMkLst>
        </pc:picChg>
        <pc:cxnChg chg="del">
          <ac:chgData name="Guo Yifei" userId="S::yifei.guo@bsb-education.com::ec9ba764-6588-4406-abce-21d5996487a5" providerId="AD" clId="Web-{7A6C4F26-B443-4469-A00F-1FC012A04A67}" dt="2023-01-22T12:57:58.811" v="269"/>
          <ac:cxnSpMkLst>
            <pc:docMk/>
            <pc:sldMk cId="1916878323" sldId="281"/>
            <ac:cxnSpMk id="11" creationId="{96D333F2-11D9-42CE-A5E2-28F61B18B8F8}"/>
          </ac:cxnSpMkLst>
        </pc:cxnChg>
      </pc:sldChg>
      <pc:sldChg chg="add replId">
        <pc:chgData name="Guo Yifei" userId="S::yifei.guo@bsb-education.com::ec9ba764-6588-4406-abce-21d5996487a5" providerId="AD" clId="Web-{7A6C4F26-B443-4469-A00F-1FC012A04A67}" dt="2023-01-22T12:58:03.374" v="271"/>
        <pc:sldMkLst>
          <pc:docMk/>
          <pc:sldMk cId="1067079418" sldId="282"/>
        </pc:sldMkLst>
      </pc:sldChg>
      <pc:sldChg chg="del">
        <pc:chgData name="Guo Yifei" userId="S::yifei.guo@bsb-education.com::ec9ba764-6588-4406-abce-21d5996487a5" providerId="AD" clId="Web-{7A6C4F26-B443-4469-A00F-1FC012A04A67}" dt="2023-01-22T12:01:53.320" v="0"/>
        <pc:sldMkLst>
          <pc:docMk/>
          <pc:sldMk cId="1956739095" sldId="31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D04A0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A9-4574-9528-5A4F40B3D04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AA9-4574-9528-5A4F40B3D04A}"/>
              </c:ext>
            </c:extLst>
          </c:dPt>
          <c:dPt>
            <c:idx val="2"/>
            <c:bubble3D val="0"/>
            <c:spPr>
              <a:solidFill>
                <a:srgbClr val="DB536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AA9-4574-9528-5A4F40B3D04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AA9-4574-9528-5A4F40B3D04A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AA9-4574-9528-5A4F40B3D0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7C613D-C618-4CBC-A88A-D4156D9C0917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B1D79F-E62C-484B-9221-666A810BD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7999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ustindistel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dylandgillis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@anniespratt" TargetMode="External"/><Relationship Id="rId4" Type="http://schemas.openxmlformats.org/officeDocument/2006/relationships/hyperlink" Target="https://unsplash.com/s/photos/work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7" Type="http://schemas.openxmlformats.org/officeDocument/2006/relationships/hyperlink" Target="https://unsplash.com/@phamduyquang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zabegina" TargetMode="External"/><Relationship Id="rId5" Type="http://schemas.openxmlformats.org/officeDocument/2006/relationships/hyperlink" Target="https://unsplash.com/@d_cornilov" TargetMode="Externa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icollet" TargetMode="External"/><Relationship Id="rId7" Type="http://schemas.openxmlformats.org/officeDocument/2006/relationships/hyperlink" Target="https://unsplash.com/@phamduyquang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zabegina" TargetMode="External"/><Relationship Id="rId5" Type="http://schemas.openxmlformats.org/officeDocument/2006/relationships/hyperlink" Target="https://unsplash.com/@d_cornilov" TargetMode="Externa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hoto by </a:t>
            </a:r>
            <a:r>
              <a:rPr lang="en-US" b="0" i="0" u="none" strike="noStrike">
                <a:effectLst/>
                <a:latin typeface="-apple-system"/>
                <a:hlinkClick r:id="rId3"/>
              </a:rPr>
              <a:t>Austin </a:t>
            </a:r>
            <a:r>
              <a:rPr lang="en-US" b="0" i="0" u="none" strike="noStrike" err="1">
                <a:effectLst/>
                <a:latin typeface="-apple-system"/>
                <a:hlinkClick r:id="rId3"/>
              </a:rPr>
              <a:t>Distel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ID"/>
          </a:p>
          <a:p>
            <a:r>
              <a:rPr lang="en-US" b="0" i="0" u="none" strike="noStrike">
                <a:effectLst/>
                <a:latin typeface="-apple-system"/>
                <a:hlinkClick r:id="rId3"/>
              </a:rPr>
              <a:t>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770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>
                <a:effectLst/>
                <a:latin typeface="-apple-system"/>
                <a:hlinkClick r:id="rId3"/>
              </a:rPr>
              <a:t>Photo by Power Point asset</a:t>
            </a:r>
          </a:p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3580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1722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u="none" strike="noStrike">
                <a:effectLst/>
                <a:latin typeface="-apple-system"/>
                <a:hlinkClick r:id="rId3"/>
              </a:rPr>
              <a:t>Photo by Power Point as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31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hoto by </a:t>
            </a:r>
            <a:r>
              <a:rPr lang="en-US">
                <a:hlinkClick r:id="rId3"/>
              </a:rPr>
              <a:t>Dylan Gillis</a:t>
            </a:r>
            <a:r>
              <a:rPr lang="en-US"/>
              <a:t> 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US" b="0" i="0" u="none" strike="noStrike">
              <a:effectLst/>
              <a:latin typeface="-apple-system"/>
              <a:hlinkClick r:id="rId5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890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b="0" i="0" u="none" strike="noStrike" dirty="0">
                <a:effectLst/>
                <a:latin typeface="-apple-system"/>
                <a:hlinkClick r:id="rId3"/>
              </a:rPr>
              <a:t>Hannah Nicollet</a:t>
            </a:r>
            <a:r>
              <a:rPr lang="en-US" b="0" i="0" u="none" strike="noStrike" dirty="0">
                <a:effectLst/>
                <a:latin typeface="-apple-system"/>
              </a:rPr>
              <a:t> </a:t>
            </a:r>
            <a:r>
              <a:rPr lang="en-US" dirty="0"/>
              <a:t>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b="0" i="0" u="none" strike="noStrike" dirty="0">
                <a:effectLst/>
                <a:latin typeface="-apple-system"/>
                <a:hlinkClick r:id="rId5"/>
              </a:rPr>
              <a:t>Dan </a:t>
            </a:r>
            <a:r>
              <a:rPr lang="en-US" b="0" i="0" u="none" strike="noStrike" dirty="0" err="1">
                <a:effectLst/>
                <a:latin typeface="-apple-system"/>
                <a:hlinkClick r:id="rId5"/>
              </a:rPr>
              <a:t>Cornilov</a:t>
            </a:r>
            <a:r>
              <a:rPr lang="en-US" b="0" i="0" u="none" strike="noStrike" dirty="0">
                <a:effectLst/>
                <a:latin typeface="-apple-system"/>
              </a:rPr>
              <a:t> </a:t>
            </a:r>
            <a:r>
              <a:rPr lang="en-US" dirty="0"/>
              <a:t>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b="0" i="0" u="none" strike="noStrike" dirty="0">
                <a:effectLst/>
                <a:latin typeface="-apple-system"/>
                <a:hlinkClick r:id="rId6"/>
              </a:rPr>
              <a:t>Olga </a:t>
            </a:r>
            <a:r>
              <a:rPr lang="en-US" b="0" i="0" u="none" strike="noStrike" dirty="0" err="1">
                <a:effectLst/>
                <a:latin typeface="-apple-system"/>
                <a:hlinkClick r:id="rId6"/>
              </a:rPr>
              <a:t>Zabegina</a:t>
            </a:r>
            <a:r>
              <a:rPr lang="en-US" b="0" i="0" u="none" strike="noStrike" dirty="0">
                <a:effectLst/>
                <a:latin typeface="-apple-system"/>
              </a:rPr>
              <a:t> </a:t>
            </a:r>
            <a:r>
              <a:rPr lang="en-US" dirty="0"/>
              <a:t>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b="0" i="0" u="none" strike="noStrike" dirty="0" err="1">
                <a:effectLst/>
                <a:latin typeface="-apple-system"/>
                <a:hlinkClick r:id="rId7"/>
              </a:rPr>
              <a:t>Phạm</a:t>
            </a:r>
            <a:r>
              <a:rPr lang="en-US" b="0" i="0" u="none" strike="noStrike" dirty="0">
                <a:effectLst/>
                <a:latin typeface="-apple-system"/>
                <a:hlinkClick r:id="rId7"/>
              </a:rPr>
              <a:t> </a:t>
            </a:r>
            <a:r>
              <a:rPr lang="en-US" b="0" i="0" u="none" strike="noStrike" dirty="0" err="1">
                <a:effectLst/>
                <a:latin typeface="-apple-system"/>
                <a:hlinkClick r:id="rId7"/>
              </a:rPr>
              <a:t>Duy</a:t>
            </a:r>
            <a:r>
              <a:rPr lang="en-US" b="0" i="0" u="none" strike="noStrike" dirty="0">
                <a:effectLst/>
                <a:latin typeface="-apple-system"/>
                <a:hlinkClick r:id="rId7"/>
              </a:rPr>
              <a:t> Quang</a:t>
            </a:r>
            <a:r>
              <a:rPr lang="en-US" b="0" i="0" u="none" strike="noStrike" dirty="0">
                <a:effectLst/>
                <a:latin typeface="-apple-system"/>
              </a:rPr>
              <a:t> </a:t>
            </a:r>
            <a:r>
              <a:rPr lang="en-US" dirty="0"/>
              <a:t>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  <a:p>
            <a:endParaRPr lang="en-US" b="0" i="0" u="none" strike="noStrike" dirty="0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437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174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987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5079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0770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1D79F-E62C-484B-9221-666A810BDA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4764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>
                <a:effectLst/>
                <a:latin typeface="-apple-system"/>
                <a:hlinkClick r:id="rId3"/>
              </a:rPr>
              <a:t>Photo by Power Point asset</a:t>
            </a:r>
          </a:p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223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hoto by </a:t>
            </a:r>
            <a:r>
              <a:rPr lang="en-US" b="0" i="0" u="none" strike="noStrike">
                <a:effectLst/>
                <a:latin typeface="-apple-system"/>
                <a:hlinkClick r:id="rId3"/>
              </a:rPr>
              <a:t>Hannah Nicollet</a:t>
            </a:r>
            <a:r>
              <a:rPr lang="en-US" b="0" i="0" u="none" strike="noStrike">
                <a:effectLst/>
                <a:latin typeface="-apple-system"/>
              </a:rPr>
              <a:t> </a:t>
            </a:r>
            <a:r>
              <a:rPr lang="en-US"/>
              <a:t>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ID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hoto by </a:t>
            </a:r>
            <a:r>
              <a:rPr lang="en-US" b="0" i="0" u="none" strike="noStrike">
                <a:effectLst/>
                <a:latin typeface="-apple-system"/>
                <a:hlinkClick r:id="rId5"/>
              </a:rPr>
              <a:t>Dan </a:t>
            </a:r>
            <a:r>
              <a:rPr lang="en-US" b="0" i="0" u="none" strike="noStrike" err="1">
                <a:effectLst/>
                <a:latin typeface="-apple-system"/>
                <a:hlinkClick r:id="rId5"/>
              </a:rPr>
              <a:t>Cornilov</a:t>
            </a:r>
            <a:r>
              <a:rPr lang="en-US" b="0" i="0" u="none" strike="noStrike">
                <a:effectLst/>
                <a:latin typeface="-apple-system"/>
              </a:rPr>
              <a:t> </a:t>
            </a:r>
            <a:r>
              <a:rPr lang="en-US"/>
              <a:t>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ID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hoto by </a:t>
            </a:r>
            <a:r>
              <a:rPr lang="en-US" b="0" i="0" u="none" strike="noStrike">
                <a:effectLst/>
                <a:latin typeface="-apple-system"/>
                <a:hlinkClick r:id="rId6"/>
              </a:rPr>
              <a:t>Olga </a:t>
            </a:r>
            <a:r>
              <a:rPr lang="en-US" b="0" i="0" u="none" strike="noStrike" err="1">
                <a:effectLst/>
                <a:latin typeface="-apple-system"/>
                <a:hlinkClick r:id="rId6"/>
              </a:rPr>
              <a:t>Zabegina</a:t>
            </a:r>
            <a:r>
              <a:rPr lang="en-US" b="0" i="0" u="none" strike="noStrike">
                <a:effectLst/>
                <a:latin typeface="-apple-system"/>
              </a:rPr>
              <a:t> </a:t>
            </a:r>
            <a:r>
              <a:rPr lang="en-US"/>
              <a:t>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ID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hoto by </a:t>
            </a:r>
            <a:r>
              <a:rPr lang="en-US" b="0" i="0" u="none" strike="noStrike" err="1">
                <a:effectLst/>
                <a:latin typeface="-apple-system"/>
                <a:hlinkClick r:id="rId7"/>
              </a:rPr>
              <a:t>Phạm</a:t>
            </a:r>
            <a:r>
              <a:rPr lang="en-US" b="0" i="0" u="none" strike="noStrike">
                <a:effectLst/>
                <a:latin typeface="-apple-system"/>
                <a:hlinkClick r:id="rId7"/>
              </a:rPr>
              <a:t> </a:t>
            </a:r>
            <a:r>
              <a:rPr lang="en-US" b="0" i="0" u="none" strike="noStrike" err="1">
                <a:effectLst/>
                <a:latin typeface="-apple-system"/>
                <a:hlinkClick r:id="rId7"/>
              </a:rPr>
              <a:t>Duy</a:t>
            </a:r>
            <a:r>
              <a:rPr lang="en-US" b="0" i="0" u="none" strike="noStrike">
                <a:effectLst/>
                <a:latin typeface="-apple-system"/>
                <a:hlinkClick r:id="rId7"/>
              </a:rPr>
              <a:t> Quang</a:t>
            </a:r>
            <a:r>
              <a:rPr lang="en-US" b="0" i="0" u="none" strike="noStrike">
                <a:effectLst/>
                <a:latin typeface="-apple-system"/>
              </a:rPr>
              <a:t> </a:t>
            </a:r>
            <a:r>
              <a:rPr lang="en-US"/>
              <a:t>on </a:t>
            </a:r>
            <a:r>
              <a:rPr lang="en-US" err="1">
                <a:hlinkClick r:id="rId4"/>
              </a:rPr>
              <a:t>Unsplash</a:t>
            </a:r>
            <a:r>
              <a:rPr lang="en-US"/>
              <a:t> </a:t>
            </a:r>
            <a:endParaRPr lang="en-ID"/>
          </a:p>
          <a:p>
            <a:endParaRPr lang="en-US" b="0" i="0" u="none" strike="noStrike">
              <a:effectLst/>
              <a:latin typeface="-apple-system"/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B1D79F-E62C-484B-9221-666A810BDAA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08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C824C-DA96-EE8B-C961-2ABA6855D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E61C07-C23B-E8D7-DB4D-A849FE4AE7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56C862-1731-14F2-4167-C0FCA88EE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CD955-B44A-44A2-8470-5D4FA9DB5115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B69925-74E7-87CB-C622-D180FCBC8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01838F-9108-0EA9-EBA2-1D0EE8ACD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59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7015F-0A45-6F8A-B6E3-2FF577877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6D646C-02A7-816D-D857-78BC30DCDA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FCAFBA-50C1-EF3F-5A95-052ECF4AD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BAE12-949E-4E7A-9B3F-FD08D79FD5E6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708640-D5A7-4D76-4BC6-06F781AF7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938025-8582-F3A8-3183-FC8C8332D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19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7E645F3-1287-E6CE-1725-330C132B63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D888E5-2B1A-AB2C-3BDE-FB09A91F49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04C340-88C7-EE20-21B5-C51EC2CF7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2412D-F3D7-4415-82C5-10F2771D88CE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DF1088-08F7-108C-CB68-AE2C4088D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DBE26-09BB-69DE-7976-8B5452D59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297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974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461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743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652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031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2878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016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769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6E4CA2-27CC-151F-4E2E-E61722386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50CF85-F7F3-B7E2-6F91-A82F3446FA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D4BE3C-1552-8E1D-654D-4D7A1E1DC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14F5E-B72C-4DA8-A1BD-1DA7F132BF4D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ED2236-F048-5677-4595-7A3029333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09C20E-3B99-A2E4-5DF8-8DE912127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7312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551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8771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3532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0726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1271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203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150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8513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842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459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9B4E3-2348-0D79-BFDB-C1C00A755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EBD927-A397-7A50-2975-21D9CB84AA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4D201-650B-869C-FFC6-449531EAF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692CC-EAEA-4713-A6FE-C6D19F437E6E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F0073F-3743-86E1-FEAF-358DE9DFE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D66FD-8BBE-46B8-BCA3-DFF58DE35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601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171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664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1517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26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CEF61-3FE9-883D-7FA1-FFBB11FCE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362D52-15A5-358E-0B7B-97F55BC30F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CC5837-C31D-6CC9-292B-1FF62C9C8E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85A58C-4880-EBC2-DDEA-2AA5B6A0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3F3F3-A6F0-4DD2-BB96-637BFA40A4A9}" type="datetime1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6A2A5-BDA4-EC3C-0466-85F67A0A7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8B4745-F114-87ED-3903-3E3DFDED7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983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37566-BA66-727A-2BC4-BBB322BA4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E16AE-D092-D961-9ACD-50A4802F75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BBD040-0746-8419-DDDB-56DF1F09A3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E013B4-3C54-52B8-C5DA-169E9853FF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10755B-030E-1DB5-0AE9-F81B8BFA55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4FC60A-4B93-0137-9D83-97AF3DF14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84A4E-054A-42A3-BA87-E87E292E3DA2}" type="datetime1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8DFA61-50CB-4368-3675-989DC16B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0CCD50C-5A00-4243-87D0-5DF892F7B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6579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A65BD-7F7E-0FB9-289E-B4DF95C10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07C06B-5039-4F24-0A57-043F94BF3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AED18-4006-4BFD-BCA1-073CC67F1760}" type="datetime1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BCCA55-1B7C-C7C8-763A-2D344067F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06FC6-9ED8-F1B8-7235-5C478D60F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622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994253-2613-780D-FEF3-7B2C33554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ACC03-506C-49B9-A59D-E865AE99E15F}" type="datetime1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8660D-C7D6-5E84-F165-A58032436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8E22ED-71F9-6998-D15E-54CF1ABF7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277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8CD7D-5D16-B11E-9191-6DF3A7ECD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480A77-6E61-A6C7-F863-1289101B1F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8C320E-CDD0-90D5-53BB-CD6BC6821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49CE7D-046A-D241-D33A-8535FDF62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D7-8B47-43F1-92B6-BC173BD7DA8F}" type="datetime1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9C0477-5E07-71D0-35E6-A40F75D37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AFC6F4-2415-7B84-5F6D-90930B381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718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0CB72-219C-0297-3FCD-4EE29B80E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6174FCF-4870-2AEE-4C28-ACE614551C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53F419-2DD0-F219-914E-E3921A4928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134019-8C65-41F0-A676-211C8CBE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58460-A1C5-46B5-AA64-74461B9278E5}" type="datetime1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2AFA3E-C60A-C42A-A126-791F01253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E52114-4DF4-46F6-8AB3-FC2082EB2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562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D8908D-9796-EED9-F522-09AD0EEB8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4F369D-2DE3-7C3A-87FB-24934E80AF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19F272-3012-A13D-6B05-1931D00014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C03366-65A3-404E-868B-7C4525FA55FB}" type="datetime1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7A7AF0-274C-F75E-C37C-377264BD8F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FCF5F-B0F3-E623-C90F-6C6008F6D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1C1147-41EA-4C0E-8375-B1195FE30038}" type="slidenum">
              <a:rPr lang="en-US" smtClean="0"/>
              <a:t>‹#›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746DEE-0242-9F0B-28C8-2C24F83A2D55}"/>
              </a:ext>
            </a:extLst>
          </p:cNvPr>
          <p:cNvGrpSpPr/>
          <p:nvPr userDrawn="1"/>
        </p:nvGrpSpPr>
        <p:grpSpPr>
          <a:xfrm>
            <a:off x="0" y="-508000"/>
            <a:ext cx="1337511" cy="415089"/>
            <a:chOff x="0" y="-508000"/>
            <a:chExt cx="1337511" cy="41508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0CC6DB6-C720-5096-9040-CE66930F0AA8}"/>
                </a:ext>
              </a:extLst>
            </p:cNvPr>
            <p:cNvSpPr/>
            <p:nvPr/>
          </p:nvSpPr>
          <p:spPr>
            <a:xfrm>
              <a:off x="0" y="-508000"/>
              <a:ext cx="415089" cy="415089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98AB3E0-42B6-C1EF-A18D-817234392BA6}"/>
                </a:ext>
              </a:extLst>
            </p:cNvPr>
            <p:cNvSpPr/>
            <p:nvPr/>
          </p:nvSpPr>
          <p:spPr>
            <a:xfrm>
              <a:off x="461211" y="-508000"/>
              <a:ext cx="415089" cy="415089"/>
            </a:xfrm>
            <a:prstGeom prst="rect">
              <a:avLst/>
            </a:prstGeom>
            <a:solidFill>
              <a:srgbClr val="FFB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AFAB042-B454-4F73-44CA-018460E75AD4}"/>
                </a:ext>
              </a:extLst>
            </p:cNvPr>
            <p:cNvSpPr/>
            <p:nvPr userDrawn="1"/>
          </p:nvSpPr>
          <p:spPr>
            <a:xfrm>
              <a:off x="922422" y="-508000"/>
              <a:ext cx="415089" cy="415089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27381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31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32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10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77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.xml"/><Relationship Id="rId4" Type="http://schemas.openxmlformats.org/officeDocument/2006/relationships/image" Target="../media/image2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pixabay.com/en/architecture-blue-building-business-2717/" TargetMode="Externa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Two people sitting on a couch looking at a newspaper&#10;&#10;Description automatically generated with medium confidence">
            <a:extLst>
              <a:ext uri="{FF2B5EF4-FFF2-40B4-BE49-F238E27FC236}">
                <a16:creationId xmlns:a16="http://schemas.microsoft.com/office/drawing/2014/main" id="{41FEA8DF-C69E-F956-B6BC-476F7ABC21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126C9C2-AF1D-B1C4-D866-8F8927FFE69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C08BF6E-8596-C3F1-54D3-EE97FD28026E}"/>
              </a:ext>
            </a:extLst>
          </p:cNvPr>
          <p:cNvSpPr/>
          <p:nvPr/>
        </p:nvSpPr>
        <p:spPr>
          <a:xfrm>
            <a:off x="0" y="0"/>
            <a:ext cx="8782049" cy="565621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C358A7-54F4-B05B-DDFD-625478E99B77}"/>
              </a:ext>
            </a:extLst>
          </p:cNvPr>
          <p:cNvSpPr/>
          <p:nvPr/>
        </p:nvSpPr>
        <p:spPr>
          <a:xfrm>
            <a:off x="609600" y="971708"/>
            <a:ext cx="8172449" cy="2349498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62D4712-3B9D-E47B-1F9D-6580B319A214}"/>
              </a:ext>
            </a:extLst>
          </p:cNvPr>
          <p:cNvSpPr txBox="1"/>
          <p:nvPr/>
        </p:nvSpPr>
        <p:spPr>
          <a:xfrm>
            <a:off x="975994" y="1252182"/>
            <a:ext cx="6830060" cy="184665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6000">
                <a:latin typeface="Georgia"/>
                <a:cs typeface="Segoe UI"/>
              </a:rPr>
              <a:t>Investment </a:t>
            </a:r>
          </a:p>
          <a:p>
            <a:r>
              <a:rPr lang="en-US" sz="6000">
                <a:latin typeface="Georgia"/>
                <a:cs typeface="Segoe UI"/>
              </a:rPr>
              <a:t>Portfolio Analysis</a:t>
            </a:r>
            <a:endParaRPr lang="en-US" sz="6000"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1D832CE-D7FC-BCEB-E31F-251E79AF811C}"/>
              </a:ext>
            </a:extLst>
          </p:cNvPr>
          <p:cNvSpPr txBox="1"/>
          <p:nvPr/>
        </p:nvSpPr>
        <p:spPr>
          <a:xfrm>
            <a:off x="1037590" y="3552780"/>
            <a:ext cx="6830060" cy="25853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  <a:t>Presented by:</a:t>
            </a:r>
            <a:b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</a:br>
            <a: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  <a:t>GUO </a:t>
            </a:r>
            <a:r>
              <a:rPr lang="en-US" sz="2400" dirty="0" err="1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  <a:t>Yifei</a:t>
            </a:r>
            <a:b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</a:br>
            <a: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  <a:t>DANILKINA </a:t>
            </a:r>
            <a:r>
              <a:rPr lang="en-US" sz="2400" dirty="0" err="1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  <a:t>Valeriia</a:t>
            </a:r>
            <a:b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  <a:cs typeface="Segoe UI"/>
              </a:rPr>
            </a:br>
            <a: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</a:rPr>
              <a:t>MOUROUGAPPANE </a:t>
            </a:r>
            <a:r>
              <a:rPr lang="en-US" sz="2400" dirty="0" err="1">
                <a:solidFill>
                  <a:schemeClr val="bg1"/>
                </a:solidFill>
                <a:latin typeface="Georgia" panose="02040502050405020303" pitchFamily="18" charset="0"/>
              </a:rPr>
              <a:t>Soundarya</a:t>
            </a:r>
            <a:b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sz="2400" dirty="0">
                <a:solidFill>
                  <a:schemeClr val="bg1"/>
                </a:solidFill>
                <a:latin typeface="Georgia" panose="02040502050405020303" pitchFamily="18" charset="0"/>
              </a:rPr>
              <a:t>PANDYA </a:t>
            </a:r>
            <a:r>
              <a:rPr lang="en-US" sz="2400" dirty="0" err="1">
                <a:solidFill>
                  <a:schemeClr val="bg1"/>
                </a:solidFill>
                <a:latin typeface="Georgia" panose="02040502050405020303" pitchFamily="18" charset="0"/>
              </a:rPr>
              <a:t>Vivek</a:t>
            </a:r>
            <a:endParaRPr lang="en-US" sz="2400" dirty="0">
              <a:solidFill>
                <a:schemeClr val="bg1"/>
              </a:solidFill>
              <a:latin typeface="Georgia" panose="02040502050405020303" pitchFamily="18" charset="0"/>
              <a:cs typeface="Segoe UI"/>
            </a:endParaRPr>
          </a:p>
          <a:p>
            <a:endParaRPr lang="en-US" sz="2400" dirty="0">
              <a:latin typeface="Georgia" panose="02040502050405020303" pitchFamily="18" charset="0"/>
              <a:cs typeface="Segoe UI" panose="020B0502040204020203" pitchFamily="34" charset="0"/>
            </a:endParaRPr>
          </a:p>
          <a:p>
            <a:endParaRPr lang="en-US" sz="2400" dirty="0"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2" name="TextBox 25">
            <a:extLst>
              <a:ext uri="{FF2B5EF4-FFF2-40B4-BE49-F238E27FC236}">
                <a16:creationId xmlns:a16="http://schemas.microsoft.com/office/drawing/2014/main" id="{EC37985B-A280-3C55-6C4F-901633F92A8C}"/>
              </a:ext>
            </a:extLst>
          </p:cNvPr>
          <p:cNvSpPr txBox="1"/>
          <p:nvPr/>
        </p:nvSpPr>
        <p:spPr>
          <a:xfrm>
            <a:off x="7147528" y="6075743"/>
            <a:ext cx="6830060" cy="14773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3200">
                <a:latin typeface="Georgia"/>
                <a:cs typeface="Segoe UI"/>
              </a:rPr>
              <a:t>23 January 2023</a:t>
            </a:r>
          </a:p>
          <a:p>
            <a:endParaRPr lang="en-US" sz="3200">
              <a:latin typeface="Georgia" panose="02040502050405020303" pitchFamily="18" charset="0"/>
              <a:cs typeface="Segoe UI" panose="020B0502040204020203" pitchFamily="34" charset="0"/>
            </a:endParaRPr>
          </a:p>
          <a:p>
            <a:endParaRPr lang="en-US" sz="3200">
              <a:latin typeface="Georgia" panose="02040502050405020303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2712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Top 5 companies to buy/sell from the portfolio.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fld id="{781C1147-41EA-4C0E-8375-B1195FE30038}" type="slidenum">
              <a:rPr lang="en-US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0</a:t>
            </a:fld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504B26-A528-C34F-22AD-63283C48CD98}"/>
              </a:ext>
            </a:extLst>
          </p:cNvPr>
          <p:cNvSpPr/>
          <p:nvPr/>
        </p:nvSpPr>
        <p:spPr>
          <a:xfrm>
            <a:off x="609600" y="1905921"/>
            <a:ext cx="5283200" cy="413092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Person creating a calendar with adhesive notes on a blackboard">
            <a:extLst>
              <a:ext uri="{FF2B5EF4-FFF2-40B4-BE49-F238E27FC236}">
                <a16:creationId xmlns:a16="http://schemas.microsoft.com/office/drawing/2014/main" id="{FE13E4BF-2ADD-EA75-46C2-1ED38E4D3DC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" y="1905920"/>
            <a:ext cx="5283200" cy="4130926"/>
          </a:xfrm>
          <a:custGeom>
            <a:avLst/>
            <a:gdLst>
              <a:gd name="connsiteX0" fmla="*/ 0 w 5283200"/>
              <a:gd name="connsiteY0" fmla="*/ 0 h 4130926"/>
              <a:gd name="connsiteX1" fmla="*/ 5283200 w 5283200"/>
              <a:gd name="connsiteY1" fmla="*/ 0 h 4130926"/>
              <a:gd name="connsiteX2" fmla="*/ 5283200 w 5283200"/>
              <a:gd name="connsiteY2" fmla="*/ 4130926 h 4130926"/>
              <a:gd name="connsiteX3" fmla="*/ 0 w 5283200"/>
              <a:gd name="connsiteY3" fmla="*/ 4130926 h 4130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83200" h="4130926">
                <a:moveTo>
                  <a:pt x="0" y="0"/>
                </a:moveTo>
                <a:lnTo>
                  <a:pt x="5283200" y="0"/>
                </a:lnTo>
                <a:lnTo>
                  <a:pt x="5283200" y="4130926"/>
                </a:lnTo>
                <a:lnTo>
                  <a:pt x="0" y="4130926"/>
                </a:lnTo>
                <a:close/>
              </a:path>
            </a:pathLst>
          </a:cu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7BA6449-90AD-4400-1EDC-45D0F60C4F75}"/>
              </a:ext>
            </a:extLst>
          </p:cNvPr>
          <p:cNvSpPr txBox="1"/>
          <p:nvPr/>
        </p:nvSpPr>
        <p:spPr>
          <a:xfrm>
            <a:off x="869244" y="2189765"/>
            <a:ext cx="4905914" cy="36933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Asses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if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w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hav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buy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or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sell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stock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w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can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ely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on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indicator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such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a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:</a:t>
            </a:r>
            <a:br>
              <a:rPr lang="ru-RU" altLang="ru-RU" sz="2400" dirty="0">
                <a:solidFill>
                  <a:schemeClr val="bg1"/>
                </a:solidFill>
                <a:latin typeface="Roboto"/>
              </a:rPr>
            </a:b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 a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Earning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per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share</a:t>
            </a:r>
            <a:endParaRPr lang="ru-RU" altLang="ru-RU" sz="2400" dirty="0">
              <a:solidFill>
                <a:schemeClr val="bg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 b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Pric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earning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(P/E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atio</a:t>
            </a:r>
            <a:endParaRPr lang="ru-RU" altLang="ru-RU" sz="2400" dirty="0">
              <a:solidFill>
                <a:schemeClr val="bg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 c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Pric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earnings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ati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growth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ati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(PEG)</a:t>
            </a:r>
            <a:endParaRPr lang="ru-RU" altLang="ru-RU" sz="2400" dirty="0">
              <a:solidFill>
                <a:schemeClr val="bg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 d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Pric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t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book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value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ati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(P/B)</a:t>
            </a:r>
            <a:endParaRPr lang="ru-RU" altLang="ru-RU" sz="2400" dirty="0">
              <a:solidFill>
                <a:schemeClr val="bg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 e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Dividend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payout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ratio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(DPR)</a:t>
            </a:r>
            <a:endParaRPr lang="ru-RU" altLang="ru-RU" sz="2400" dirty="0">
              <a:solidFill>
                <a:schemeClr val="bg1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  f)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Dividend</a:t>
            </a:r>
            <a:r>
              <a:rPr lang="ru-RU" altLang="ru-RU" sz="2400" dirty="0">
                <a:solidFill>
                  <a:schemeClr val="bg1"/>
                </a:solidFill>
                <a:latin typeface="Roboto"/>
              </a:rPr>
              <a:t> </a:t>
            </a:r>
            <a:r>
              <a:rPr lang="ru-RU" altLang="ru-RU" sz="2400" dirty="0" err="1">
                <a:solidFill>
                  <a:schemeClr val="bg1"/>
                </a:solidFill>
                <a:latin typeface="Roboto"/>
              </a:rPr>
              <a:t>yield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F10910-BED3-D0C9-7A02-F5E329CC1768}"/>
              </a:ext>
            </a:extLst>
          </p:cNvPr>
          <p:cNvSpPr/>
          <p:nvPr/>
        </p:nvSpPr>
        <p:spPr>
          <a:xfrm>
            <a:off x="6320590" y="1905921"/>
            <a:ext cx="5283200" cy="413092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Employee using laptop in office">
            <a:extLst>
              <a:ext uri="{FF2B5EF4-FFF2-40B4-BE49-F238E27FC236}">
                <a16:creationId xmlns:a16="http://schemas.microsoft.com/office/drawing/2014/main" id="{3939212E-ADE2-DF23-4702-EE8C19A17A1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20590" y="1905921"/>
            <a:ext cx="5283200" cy="4130926"/>
          </a:xfrm>
          <a:custGeom>
            <a:avLst/>
            <a:gdLst>
              <a:gd name="connsiteX0" fmla="*/ 0 w 5283200"/>
              <a:gd name="connsiteY0" fmla="*/ 0 h 4130926"/>
              <a:gd name="connsiteX1" fmla="*/ 5283200 w 5283200"/>
              <a:gd name="connsiteY1" fmla="*/ 0 h 4130926"/>
              <a:gd name="connsiteX2" fmla="*/ 5283200 w 5283200"/>
              <a:gd name="connsiteY2" fmla="*/ 4130926 h 4130926"/>
              <a:gd name="connsiteX3" fmla="*/ 0 w 5283200"/>
              <a:gd name="connsiteY3" fmla="*/ 4130926 h 4130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83200" h="4130926">
                <a:moveTo>
                  <a:pt x="0" y="0"/>
                </a:moveTo>
                <a:lnTo>
                  <a:pt x="5283200" y="0"/>
                </a:lnTo>
                <a:lnTo>
                  <a:pt x="5283200" y="4130926"/>
                </a:lnTo>
                <a:lnTo>
                  <a:pt x="0" y="4130926"/>
                </a:ln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EA0A60F-AF8E-D192-0CB0-73B5D43878E8}"/>
              </a:ext>
            </a:extLst>
          </p:cNvPr>
          <p:cNvSpPr/>
          <p:nvPr/>
        </p:nvSpPr>
        <p:spPr>
          <a:xfrm>
            <a:off x="6580234" y="1450613"/>
            <a:ext cx="4673600" cy="944594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Using P/E we decide t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1BF2F6-9E1C-5B70-BCEE-CFEE86324033}"/>
              </a:ext>
            </a:extLst>
          </p:cNvPr>
          <p:cNvSpPr txBox="1"/>
          <p:nvPr/>
        </p:nvSpPr>
        <p:spPr>
          <a:xfrm>
            <a:off x="6849978" y="2791429"/>
            <a:ext cx="1973179" cy="30162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Sell: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1. SPPI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2. GTLS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3. ASTE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4. CTSH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5. RGNX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D5B6759-D6E8-3AEA-2E2E-BF9FA82BD088}"/>
              </a:ext>
            </a:extLst>
          </p:cNvPr>
          <p:cNvSpPr/>
          <p:nvPr/>
        </p:nvSpPr>
        <p:spPr>
          <a:xfrm>
            <a:off x="11099969" y="5623805"/>
            <a:ext cx="153865" cy="153865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74FF20D-6A3A-E80C-403E-F42C0247F174}"/>
              </a:ext>
            </a:extLst>
          </p:cNvPr>
          <p:cNvCxnSpPr/>
          <p:nvPr/>
        </p:nvCxnSpPr>
        <p:spPr>
          <a:xfrm flipH="1">
            <a:off x="6580234" y="5700737"/>
            <a:ext cx="4392566" cy="0"/>
          </a:xfrm>
          <a:prstGeom prst="straightConnector1">
            <a:avLst/>
          </a:prstGeom>
          <a:ln>
            <a:solidFill>
              <a:srgbClr val="FD6E1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191BF2F6-9E1C-5B70-BCEE-CFEE86324033}"/>
              </a:ext>
            </a:extLst>
          </p:cNvPr>
          <p:cNvSpPr txBox="1"/>
          <p:nvPr/>
        </p:nvSpPr>
        <p:spPr>
          <a:xfrm>
            <a:off x="9200761" y="2761460"/>
            <a:ext cx="2242924" cy="25853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Buy: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bg1"/>
                </a:solidFill>
              </a:rPr>
              <a:t>1. AHCO</a:t>
            </a:r>
            <a:br>
              <a:rPr lang="fi-FI" sz="2800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bg1"/>
                </a:solidFill>
              </a:rPr>
              <a:t>2. TGI</a:t>
            </a:r>
            <a:br>
              <a:rPr lang="fi-FI" sz="2800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bg1"/>
                </a:solidFill>
              </a:rPr>
              <a:t>3. ON</a:t>
            </a:r>
            <a:br>
              <a:rPr lang="fi-FI" sz="2800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bg1"/>
                </a:solidFill>
              </a:rPr>
              <a:t>4. VVOS</a:t>
            </a:r>
            <a:br>
              <a:rPr lang="fi-FI" sz="2800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bg1"/>
                </a:solidFill>
              </a:rPr>
              <a:t>5. EXPD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3" name="Рисунок 6">
            <a:extLst>
              <a:ext uri="{FF2B5EF4-FFF2-40B4-BE49-F238E27FC236}">
                <a16:creationId xmlns:a16="http://schemas.microsoft.com/office/drawing/2014/main" id="{88F69A63-6DB6-8DDE-E6FE-804F8B06B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91" y="1250135"/>
            <a:ext cx="5133109" cy="499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857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Georgia" panose="02040502050405020303" pitchFamily="18" charset="0"/>
              </a:rPr>
              <a:t>Portfolio Analysi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fld id="{781C1147-41EA-4C0E-8375-B1195FE30038}" type="slidenum">
              <a:rPr lang="en-US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1</a:t>
            </a:fld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C9C663-6F50-D145-A96F-8D20BBF6F30C}"/>
              </a:ext>
            </a:extLst>
          </p:cNvPr>
          <p:cNvCxnSpPr>
            <a:cxnSpLocks/>
          </p:cNvCxnSpPr>
          <p:nvPr/>
        </p:nvCxnSpPr>
        <p:spPr>
          <a:xfrm>
            <a:off x="609600" y="1874520"/>
            <a:ext cx="11582400" cy="0"/>
          </a:xfrm>
          <a:prstGeom prst="line">
            <a:avLst/>
          </a:prstGeom>
          <a:ln w="19050">
            <a:solidFill>
              <a:srgbClr val="D04A02"/>
            </a:solidFill>
            <a:head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5956E7-2CAA-1028-0931-4B1D54DF87E5}"/>
              </a:ext>
            </a:extLst>
          </p:cNvPr>
          <p:cNvCxnSpPr>
            <a:cxnSpLocks/>
          </p:cNvCxnSpPr>
          <p:nvPr/>
        </p:nvCxnSpPr>
        <p:spPr>
          <a:xfrm>
            <a:off x="0" y="4242334"/>
            <a:ext cx="10170695" cy="0"/>
          </a:xfrm>
          <a:prstGeom prst="line">
            <a:avLst/>
          </a:prstGeom>
          <a:ln w="19050">
            <a:solidFill>
              <a:srgbClr val="D04A0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9C1A6DD5-DA3C-44E4-0A6F-58652D9A5413}"/>
              </a:ext>
            </a:extLst>
          </p:cNvPr>
          <p:cNvSpPr/>
          <p:nvPr/>
        </p:nvSpPr>
        <p:spPr>
          <a:xfrm>
            <a:off x="1074420" y="1705355"/>
            <a:ext cx="2118360" cy="4218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3170E4-50A8-5420-D027-32CFC0F52EA7}"/>
              </a:ext>
            </a:extLst>
          </p:cNvPr>
          <p:cNvSpPr/>
          <p:nvPr/>
        </p:nvSpPr>
        <p:spPr>
          <a:xfrm>
            <a:off x="4244340" y="1705355"/>
            <a:ext cx="2118360" cy="4218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fic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D9C1EA-DA7F-7D64-0692-2582FDB675E1}"/>
              </a:ext>
            </a:extLst>
          </p:cNvPr>
          <p:cNvSpPr/>
          <p:nvPr/>
        </p:nvSpPr>
        <p:spPr>
          <a:xfrm>
            <a:off x="7414259" y="1705355"/>
            <a:ext cx="3959593" cy="4218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to sell entire portfolio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44CB1D0-484F-BCE0-DB71-F8E1ACF48607}"/>
              </a:ext>
            </a:extLst>
          </p:cNvPr>
          <p:cNvSpPr/>
          <p:nvPr/>
        </p:nvSpPr>
        <p:spPr>
          <a:xfrm>
            <a:off x="609600" y="2164080"/>
            <a:ext cx="3048000" cy="13106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kely poor: negative ROI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816E951-4CF1-0E34-7538-0CD72F37B33B}"/>
              </a:ext>
            </a:extLst>
          </p:cNvPr>
          <p:cNvSpPr/>
          <p:nvPr/>
        </p:nvSpPr>
        <p:spPr>
          <a:xfrm>
            <a:off x="3779520" y="2164079"/>
            <a:ext cx="3048000" cy="158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well diversified:</a:t>
            </a:r>
            <a:b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has company shar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F8C6580-59B0-778B-6634-9A030229A066}"/>
              </a:ext>
            </a:extLst>
          </p:cNvPr>
          <p:cNvSpPr/>
          <p:nvPr/>
        </p:nvSpPr>
        <p:spPr>
          <a:xfrm>
            <a:off x="6949439" y="2164080"/>
            <a:ext cx="5098181" cy="158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1. Hits the portfolio value target</a:t>
            </a:r>
            <a:endParaRPr lang="en-US" dirty="0">
              <a:solidFill>
                <a:schemeClr val="tx1"/>
              </a:solidFill>
              <a:cs typeface="Calibri"/>
            </a:endParaRPr>
          </a:p>
          <a:p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Decides to use money for something else</a:t>
            </a:r>
          </a:p>
          <a:p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In case of unforeseen circumstances, such as a market crash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909" y="3002530"/>
            <a:ext cx="4802832" cy="2781782"/>
          </a:xfrm>
          <a:prstGeom prst="rect">
            <a:avLst/>
          </a:prstGeom>
        </p:spPr>
      </p:pic>
      <p:sp>
        <p:nvSpPr>
          <p:cNvPr id="33" name="Rectangle 15">
            <a:extLst>
              <a:ext uri="{FF2B5EF4-FFF2-40B4-BE49-F238E27FC236}">
                <a16:creationId xmlns:a16="http://schemas.microsoft.com/office/drawing/2014/main" id="{33D9C1EA-DA7F-7D64-0692-2582FDB675E1}"/>
              </a:ext>
            </a:extLst>
          </p:cNvPr>
          <p:cNvSpPr/>
          <p:nvPr/>
        </p:nvSpPr>
        <p:spPr>
          <a:xfrm>
            <a:off x="6362700" y="4073838"/>
            <a:ext cx="4889233" cy="4218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/least valuable industry</a:t>
            </a:r>
          </a:p>
        </p:txBody>
      </p:sp>
      <p:sp>
        <p:nvSpPr>
          <p:cNvPr id="39" name="Rectangle 27">
            <a:extLst>
              <a:ext uri="{FF2B5EF4-FFF2-40B4-BE49-F238E27FC236}">
                <a16:creationId xmlns:a16="http://schemas.microsoft.com/office/drawing/2014/main" id="{2F8C6580-59B0-778B-6634-9A030229A066}"/>
              </a:ext>
            </a:extLst>
          </p:cNvPr>
          <p:cNvSpPr/>
          <p:nvPr/>
        </p:nvSpPr>
        <p:spPr>
          <a:xfrm>
            <a:off x="5871411" y="4532563"/>
            <a:ext cx="6054290" cy="158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3 industries per total stock value in this portfolio are Industrial Sector, Healthcare, IT – 70,8% of stock together</a:t>
            </a:r>
            <a:b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tom 3 industries: Energy, Materials, Utilities – 4%</a:t>
            </a:r>
            <a:b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stock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825121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Georgia" panose="02040502050405020303" pitchFamily="18" charset="0"/>
              </a:rPr>
              <a:t>How to optimize the portfolio investment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EB4D3A7-08F6-4AEB-09B4-B1C9B4A1C5B8}"/>
              </a:ext>
            </a:extLst>
          </p:cNvPr>
          <p:cNvSpPr/>
          <p:nvPr/>
        </p:nvSpPr>
        <p:spPr>
          <a:xfrm>
            <a:off x="1277536" y="1458134"/>
            <a:ext cx="7654871" cy="4413159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9DA8F49-7B09-73DC-77FB-60B1D3BC6437}"/>
              </a:ext>
            </a:extLst>
          </p:cNvPr>
          <p:cNvSpPr/>
          <p:nvPr/>
        </p:nvSpPr>
        <p:spPr>
          <a:xfrm>
            <a:off x="609600" y="1266125"/>
            <a:ext cx="948267" cy="944594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 descr="Blog outline">
            <a:extLst>
              <a:ext uri="{FF2B5EF4-FFF2-40B4-BE49-F238E27FC236}">
                <a16:creationId xmlns:a16="http://schemas.microsoft.com/office/drawing/2014/main" id="{0DD24844-4596-A527-4F78-8A4E897CAE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817" y="1432255"/>
            <a:ext cx="631831" cy="63183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716085" y="1458134"/>
            <a:ext cx="6770380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Sell extremely overvalued and undervalued stock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  <a:p>
            <a:pPr marL="457200" indent="-457200">
              <a:buAutoNum type="arabicPeriod"/>
            </a:pPr>
            <a:endParaRPr lang="en-US" sz="2400" dirty="0">
              <a:solidFill>
                <a:schemeClr val="bg1"/>
              </a:solidFill>
            </a:endParaRP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Diversify portfolio</a:t>
            </a: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2400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Split portfolio into parts: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% high-risk, % medium-risk, % low-risk.</a:t>
            </a:r>
            <a:endParaRPr lang="ru-RU" altLang="ru-RU" sz="2400" dirty="0">
              <a:solidFill>
                <a:schemeClr val="bg1"/>
              </a:solidFill>
              <a:latin typeface="Roboto"/>
            </a:endParaRPr>
          </a:p>
          <a:p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02978" y="3213770"/>
            <a:ext cx="8786043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1. Shares of funds, ETFs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2. Foreign currency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3. Bonds - a safe alternative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and other financial instruments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D7E86B9A-BC47-8154-9F5B-575D239790FC}"/>
              </a:ext>
            </a:extLst>
          </p:cNvPr>
          <p:cNvSpPr/>
          <p:nvPr/>
        </p:nvSpPr>
        <p:spPr>
          <a:xfrm>
            <a:off x="609600" y="2392609"/>
            <a:ext cx="948267" cy="944594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44">
            <a:extLst>
              <a:ext uri="{FF2B5EF4-FFF2-40B4-BE49-F238E27FC236}">
                <a16:creationId xmlns:a16="http://schemas.microsoft.com/office/drawing/2014/main" id="{857C7F63-F811-1592-A7A1-73FDD1E79471}"/>
              </a:ext>
            </a:extLst>
          </p:cNvPr>
          <p:cNvGrpSpPr/>
          <p:nvPr/>
        </p:nvGrpSpPr>
        <p:grpSpPr>
          <a:xfrm>
            <a:off x="892418" y="2581807"/>
            <a:ext cx="411548" cy="415322"/>
            <a:chOff x="7021513" y="2890838"/>
            <a:chExt cx="346076" cy="349250"/>
          </a:xfrm>
        </p:grpSpPr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8EC988EF-411A-37F2-DCFB-E3CD465C1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3901" y="2890838"/>
              <a:ext cx="293688" cy="273050"/>
            </a:xfrm>
            <a:custGeom>
              <a:avLst/>
              <a:gdLst>
                <a:gd name="T0" fmla="*/ 185 w 185"/>
                <a:gd name="T1" fmla="*/ 0 h 172"/>
                <a:gd name="T2" fmla="*/ 48 w 185"/>
                <a:gd name="T3" fmla="*/ 172 h 172"/>
                <a:gd name="T4" fmla="*/ 0 w 185"/>
                <a:gd name="T5" fmla="*/ 12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5" h="172">
                  <a:moveTo>
                    <a:pt x="185" y="0"/>
                  </a:moveTo>
                  <a:lnTo>
                    <a:pt x="48" y="172"/>
                  </a:lnTo>
                  <a:lnTo>
                    <a:pt x="0" y="124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92B2F111-6C9F-C9B7-5FB5-4F2D92867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2967038"/>
              <a:ext cx="271463" cy="273050"/>
            </a:xfrm>
            <a:custGeom>
              <a:avLst/>
              <a:gdLst>
                <a:gd name="T0" fmla="*/ 71 w 72"/>
                <a:gd name="T1" fmla="*/ 28 h 72"/>
                <a:gd name="T2" fmla="*/ 72 w 72"/>
                <a:gd name="T3" fmla="*/ 36 h 72"/>
                <a:gd name="T4" fmla="*/ 36 w 72"/>
                <a:gd name="T5" fmla="*/ 72 h 72"/>
                <a:gd name="T6" fmla="*/ 0 w 72"/>
                <a:gd name="T7" fmla="*/ 36 h 72"/>
                <a:gd name="T8" fmla="*/ 36 w 72"/>
                <a:gd name="T9" fmla="*/ 0 h 72"/>
                <a:gd name="T10" fmla="*/ 52 w 72"/>
                <a:gd name="T11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2">
                  <a:moveTo>
                    <a:pt x="71" y="28"/>
                  </a:moveTo>
                  <a:cubicBezTo>
                    <a:pt x="72" y="31"/>
                    <a:pt x="72" y="33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42" y="0"/>
                    <a:pt x="47" y="1"/>
                    <a:pt x="52" y="4"/>
                  </a:cubicBez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2" name="Chart 9">
            <a:extLst>
              <a:ext uri="{FF2B5EF4-FFF2-40B4-BE49-F238E27FC236}">
                <a16:creationId xmlns:a16="http://schemas.microsoft.com/office/drawing/2014/main" id="{459353B2-EE1B-642B-C682-F50D27DD5378}"/>
              </a:ext>
            </a:extLst>
          </p:cNvPr>
          <p:cNvGraphicFramePr/>
          <p:nvPr/>
        </p:nvGraphicFramePr>
        <p:xfrm>
          <a:off x="6097768" y="1917064"/>
          <a:ext cx="5669280" cy="3779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Oval 10">
            <a:extLst>
              <a:ext uri="{FF2B5EF4-FFF2-40B4-BE49-F238E27FC236}">
                <a16:creationId xmlns:a16="http://schemas.microsoft.com/office/drawing/2014/main" id="{E5F693E1-B2B0-DEC0-C784-62B4B1C557A6}"/>
              </a:ext>
            </a:extLst>
          </p:cNvPr>
          <p:cNvSpPr/>
          <p:nvPr/>
        </p:nvSpPr>
        <p:spPr>
          <a:xfrm>
            <a:off x="8147548" y="3021964"/>
            <a:ext cx="1569720" cy="1569720"/>
          </a:xfrm>
          <a:prstGeom prst="ellipse">
            <a:avLst/>
          </a:prstGeom>
          <a:solidFill>
            <a:srgbClr val="FD6E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565648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1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8975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table, sitting, indoor&#10;&#10;Description automatically generated">
            <a:extLst>
              <a:ext uri="{FF2B5EF4-FFF2-40B4-BE49-F238E27FC236}">
                <a16:creationId xmlns:a16="http://schemas.microsoft.com/office/drawing/2014/main" id="{F478214B-EA42-42E6-6E56-396B221756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-12816"/>
            <a:ext cx="12192001" cy="6870816"/>
          </a:xfrm>
          <a:custGeom>
            <a:avLst/>
            <a:gdLst>
              <a:gd name="connsiteX0" fmla="*/ 0 w 12192001"/>
              <a:gd name="connsiteY0" fmla="*/ 0 h 6870816"/>
              <a:gd name="connsiteX1" fmla="*/ 12192001 w 12192001"/>
              <a:gd name="connsiteY1" fmla="*/ 0 h 6870816"/>
              <a:gd name="connsiteX2" fmla="*/ 12192001 w 12192001"/>
              <a:gd name="connsiteY2" fmla="*/ 6870816 h 6870816"/>
              <a:gd name="connsiteX3" fmla="*/ 0 w 12192001"/>
              <a:gd name="connsiteY3" fmla="*/ 6870816 h 6870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70816">
                <a:moveTo>
                  <a:pt x="0" y="0"/>
                </a:moveTo>
                <a:lnTo>
                  <a:pt x="12192001" y="0"/>
                </a:lnTo>
                <a:lnTo>
                  <a:pt x="12192001" y="6870816"/>
                </a:lnTo>
                <a:lnTo>
                  <a:pt x="0" y="6870816"/>
                </a:lnTo>
                <a:close/>
              </a:path>
            </a:pathLst>
          </a:cu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C43F820-4F7C-F0AD-654A-E0E413959796}"/>
              </a:ext>
            </a:extLst>
          </p:cNvPr>
          <p:cNvSpPr/>
          <p:nvPr/>
        </p:nvSpPr>
        <p:spPr>
          <a:xfrm>
            <a:off x="0" y="2191563"/>
            <a:ext cx="12192000" cy="2794023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EB3BB1-D6C1-0115-8B6D-5CBFB80CAC57}"/>
              </a:ext>
            </a:extLst>
          </p:cNvPr>
          <p:cNvSpPr/>
          <p:nvPr/>
        </p:nvSpPr>
        <p:spPr>
          <a:xfrm>
            <a:off x="1568450" y="1437253"/>
            <a:ext cx="9055100" cy="1921581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D33C9E-18A0-1135-6F24-33D1BA2086D6}"/>
              </a:ext>
            </a:extLst>
          </p:cNvPr>
          <p:cNvSpPr txBox="1"/>
          <p:nvPr/>
        </p:nvSpPr>
        <p:spPr>
          <a:xfrm>
            <a:off x="2051050" y="1720935"/>
            <a:ext cx="8089900" cy="13542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Thank You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F4EB3BB1-D6C1-0115-8B6D-5CBFB80CAC57}"/>
              </a:ext>
            </a:extLst>
          </p:cNvPr>
          <p:cNvSpPr/>
          <p:nvPr/>
        </p:nvSpPr>
        <p:spPr>
          <a:xfrm>
            <a:off x="1568450" y="3848112"/>
            <a:ext cx="9055100" cy="1921581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D33C9E-18A0-1135-6F24-33D1BA2086D6}"/>
              </a:ext>
            </a:extLst>
          </p:cNvPr>
          <p:cNvSpPr txBox="1"/>
          <p:nvPr/>
        </p:nvSpPr>
        <p:spPr>
          <a:xfrm>
            <a:off x="2051050" y="4066530"/>
            <a:ext cx="8089900" cy="13542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defRPr/>
            </a:pPr>
            <a:r>
              <a:rPr lang="en-US" sz="8800" dirty="0">
                <a:latin typeface="Georgia"/>
                <a:cs typeface="Segoe UI"/>
              </a:rPr>
              <a:t>Questions?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64344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fld id="{781C1147-41EA-4C0E-8375-B1195FE30038}" type="slidenum">
              <a:rPr lang="en-US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2</a:t>
            </a:fld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DEC912B-3C2B-C42A-4A9F-A708E6556524}"/>
              </a:ext>
            </a:extLst>
          </p:cNvPr>
          <p:cNvSpPr/>
          <p:nvPr/>
        </p:nvSpPr>
        <p:spPr>
          <a:xfrm>
            <a:off x="985684" y="1377993"/>
            <a:ext cx="3443632" cy="72726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0F6B6B-0B60-5C9E-7354-E1B05250738A}"/>
              </a:ext>
            </a:extLst>
          </p:cNvPr>
          <p:cNvSpPr/>
          <p:nvPr/>
        </p:nvSpPr>
        <p:spPr>
          <a:xfrm>
            <a:off x="1032087" y="3115724"/>
            <a:ext cx="3443632" cy="72726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963D9A-DD0F-55E7-FA49-BD10779C58A1}"/>
              </a:ext>
            </a:extLst>
          </p:cNvPr>
          <p:cNvSpPr/>
          <p:nvPr/>
        </p:nvSpPr>
        <p:spPr>
          <a:xfrm>
            <a:off x="6550461" y="1377994"/>
            <a:ext cx="3623100" cy="72726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F6A52AC-F0EA-CE5E-C9DC-79D2BED85E67}"/>
              </a:ext>
            </a:extLst>
          </p:cNvPr>
          <p:cNvSpPr/>
          <p:nvPr/>
        </p:nvSpPr>
        <p:spPr>
          <a:xfrm>
            <a:off x="4013073" y="1180965"/>
            <a:ext cx="545156" cy="5451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i="1">
                <a:solidFill>
                  <a:schemeClr val="tx1"/>
                </a:solidFill>
                <a:latin typeface="Garamond" panose="02020404030301010803" pitchFamily="18" charset="0"/>
              </a:rPr>
              <a:t>01</a:t>
            </a:r>
            <a:endParaRPr lang="en-ID" sz="2400" i="1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E57795A-F922-A766-507A-3B448582F6F3}"/>
              </a:ext>
            </a:extLst>
          </p:cNvPr>
          <p:cNvSpPr/>
          <p:nvPr/>
        </p:nvSpPr>
        <p:spPr>
          <a:xfrm>
            <a:off x="4084753" y="2918696"/>
            <a:ext cx="545156" cy="5451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i="1">
                <a:solidFill>
                  <a:schemeClr val="tx1"/>
                </a:solidFill>
                <a:latin typeface="Garamond" panose="02020404030301010803" pitchFamily="18" charset="0"/>
              </a:rPr>
              <a:t>02</a:t>
            </a:r>
            <a:endParaRPr lang="en-ID" sz="2400" i="1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EB4313C-D33A-3F62-3CBE-8B3175DDED29}"/>
              </a:ext>
            </a:extLst>
          </p:cNvPr>
          <p:cNvSpPr/>
          <p:nvPr/>
        </p:nvSpPr>
        <p:spPr>
          <a:xfrm>
            <a:off x="9900982" y="1195432"/>
            <a:ext cx="545157" cy="5451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i="1" dirty="0">
                <a:solidFill>
                  <a:schemeClr val="tx1"/>
                </a:solidFill>
                <a:latin typeface="Garamond" panose="02020404030301010803" pitchFamily="18" charset="0"/>
              </a:rPr>
              <a:t>03</a:t>
            </a:r>
            <a:endParaRPr lang="en-ID" sz="2400" i="1" dirty="0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29537AE-9FB3-89AD-E3EC-C86AC0AEDB1C}"/>
              </a:ext>
            </a:extLst>
          </p:cNvPr>
          <p:cNvSpPr txBox="1"/>
          <p:nvPr/>
        </p:nvSpPr>
        <p:spPr>
          <a:xfrm>
            <a:off x="1174808" y="1556960"/>
            <a:ext cx="1933162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Dashboard</a:t>
            </a:r>
            <a:endParaRPr lang="zh-CN" alt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AEE36DF-F65F-7F3E-7CE7-261573C5E97F}"/>
              </a:ext>
            </a:extLst>
          </p:cNvPr>
          <p:cNvSpPr txBox="1"/>
          <p:nvPr/>
        </p:nvSpPr>
        <p:spPr>
          <a:xfrm>
            <a:off x="1221211" y="3294691"/>
            <a:ext cx="2444259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Data Cleaning</a:t>
            </a:r>
            <a:endParaRPr lang="en-US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EF81011-CBAA-9E47-F7EC-27BE8D4D75F5}"/>
              </a:ext>
            </a:extLst>
          </p:cNvPr>
          <p:cNvSpPr txBox="1"/>
          <p:nvPr/>
        </p:nvSpPr>
        <p:spPr>
          <a:xfrm>
            <a:off x="6780063" y="1556961"/>
            <a:ext cx="1933162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>
                <a:solidFill>
                  <a:schemeClr val="bg1"/>
                </a:solidFill>
                <a:latin typeface="Arial"/>
                <a:cs typeface="Arial"/>
              </a:rPr>
              <a:t>Code</a:t>
            </a:r>
            <a:endParaRPr lang="en-US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1DEC912B-3C2B-C42A-4A9F-A708E6556524}"/>
              </a:ext>
            </a:extLst>
          </p:cNvPr>
          <p:cNvSpPr/>
          <p:nvPr/>
        </p:nvSpPr>
        <p:spPr>
          <a:xfrm>
            <a:off x="6550461" y="3115724"/>
            <a:ext cx="3715906" cy="72726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:a16="http://schemas.microsoft.com/office/drawing/2014/main" id="{DF6A52AC-F0EA-CE5E-C9DC-79D2BED85E67}"/>
              </a:ext>
            </a:extLst>
          </p:cNvPr>
          <p:cNvSpPr/>
          <p:nvPr/>
        </p:nvSpPr>
        <p:spPr>
          <a:xfrm>
            <a:off x="9910334" y="2925957"/>
            <a:ext cx="545156" cy="5451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i="1" dirty="0">
                <a:solidFill>
                  <a:schemeClr val="tx1"/>
                </a:solidFill>
                <a:latin typeface="Garamond" panose="02020404030301010803" pitchFamily="18" charset="0"/>
              </a:rPr>
              <a:t>04</a:t>
            </a:r>
            <a:endParaRPr lang="en-ID" sz="2400" i="1" dirty="0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9537AE-9FB3-89AD-E3EC-C86AC0AEDB1C}"/>
              </a:ext>
            </a:extLst>
          </p:cNvPr>
          <p:cNvSpPr txBox="1"/>
          <p:nvPr/>
        </p:nvSpPr>
        <p:spPr>
          <a:xfrm>
            <a:off x="6739584" y="3294690"/>
            <a:ext cx="2838266" cy="36933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altLang="zh-CN" sz="2400" b="1" dirty="0">
                <a:solidFill>
                  <a:schemeClr val="bg1"/>
                </a:solidFill>
                <a:latin typeface="Arial"/>
                <a:cs typeface="Arial"/>
              </a:rPr>
              <a:t>Analysis &amp; Insights</a:t>
            </a:r>
            <a:endParaRPr lang="zh-CN" altLang="en-US" dirty="0"/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30284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4954" y="212146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>
                <a:latin typeface="Georgia"/>
              </a:rPr>
              <a:t>Code1: General Information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24" descr="图形用户界面, 文本, 应用程序, 聊天或短信&#10;&#10;已自动生成说明">
            <a:extLst>
              <a:ext uri="{FF2B5EF4-FFF2-40B4-BE49-F238E27FC236}">
                <a16:creationId xmlns:a16="http://schemas.microsoft.com/office/drawing/2014/main" id="{CA03B0E0-DFAB-3413-260A-57A7AC4EFE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0438" y="991150"/>
            <a:ext cx="9919196" cy="3048741"/>
          </a:xfrm>
          <a:prstGeom prst="rect">
            <a:avLst/>
          </a:prstGeom>
        </p:spPr>
      </p:pic>
      <p:sp>
        <p:nvSpPr>
          <p:cNvPr id="34" name="Rectangle 37">
            <a:extLst>
              <a:ext uri="{FF2B5EF4-FFF2-40B4-BE49-F238E27FC236}">
                <a16:creationId xmlns:a16="http://schemas.microsoft.com/office/drawing/2014/main" id="{7E2897C2-2A61-2A9A-71A1-C87BCCB0F7A1}"/>
              </a:ext>
            </a:extLst>
          </p:cNvPr>
          <p:cNvSpPr/>
          <p:nvPr/>
        </p:nvSpPr>
        <p:spPr>
          <a:xfrm>
            <a:off x="111882" y="1081922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7">
            <a:extLst>
              <a:ext uri="{FF2B5EF4-FFF2-40B4-BE49-F238E27FC236}">
                <a16:creationId xmlns:a16="http://schemas.microsoft.com/office/drawing/2014/main" id="{F79D73F4-9EF0-C25D-0F2F-F40301506AE9}"/>
              </a:ext>
            </a:extLst>
          </p:cNvPr>
          <p:cNvSpPr/>
          <p:nvPr/>
        </p:nvSpPr>
        <p:spPr>
          <a:xfrm>
            <a:off x="111883" y="3314781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Resul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7">
            <a:extLst>
              <a:ext uri="{FF2B5EF4-FFF2-40B4-BE49-F238E27FC236}">
                <a16:creationId xmlns:a16="http://schemas.microsoft.com/office/drawing/2014/main" id="{D44B95E3-529B-8E1F-ADE5-E36058C44097}"/>
              </a:ext>
            </a:extLst>
          </p:cNvPr>
          <p:cNvSpPr/>
          <p:nvPr/>
        </p:nvSpPr>
        <p:spPr>
          <a:xfrm>
            <a:off x="111884" y="5729918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Highligh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id="{23E34560-C03A-9CB2-A1E3-9746AC9177AE}"/>
              </a:ext>
            </a:extLst>
          </p:cNvPr>
          <p:cNvSpPr txBox="1"/>
          <p:nvPr/>
        </p:nvSpPr>
        <p:spPr>
          <a:xfrm>
            <a:off x="2216251" y="5844338"/>
            <a:ext cx="6677102" cy="3539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2300" dirty="0">
                <a:solidFill>
                  <a:srgbClr val="0070C0"/>
                </a:solidFill>
                <a:ea typeface="+mn-lt"/>
                <a:cs typeface="+mn-lt"/>
              </a:rPr>
              <a:t>*</a:t>
            </a:r>
            <a:r>
              <a:rPr lang="en-US" sz="2300" dirty="0">
                <a:ea typeface="+mn-lt"/>
                <a:cs typeface="+mn-lt"/>
              </a:rPr>
              <a:t> Divided into two parts due to </a:t>
            </a:r>
            <a:r>
              <a:rPr lang="en-US" sz="2300" dirty="0" err="1">
                <a:ea typeface="+mn-lt"/>
                <a:cs typeface="+mn-lt"/>
              </a:rPr>
              <a:t>Finnhub</a:t>
            </a:r>
            <a:r>
              <a:rPr lang="en-US" sz="2300" dirty="0">
                <a:ea typeface="+mn-lt"/>
                <a:cs typeface="+mn-lt"/>
              </a:rPr>
              <a:t> limitations</a:t>
            </a:r>
            <a:endParaRPr lang="en-US" sz="2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1" descr="表格&#10;&#10;已自动生成说明">
            <a:extLst>
              <a:ext uri="{FF2B5EF4-FFF2-40B4-BE49-F238E27FC236}">
                <a16:creationId xmlns:a16="http://schemas.microsoft.com/office/drawing/2014/main" id="{8CBD3A75-B54D-F961-AF18-8ECB9FE6B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883" y="4419609"/>
            <a:ext cx="12080117" cy="930591"/>
          </a:xfrm>
          <a:prstGeom prst="rect">
            <a:avLst/>
          </a:prstGeom>
        </p:spPr>
      </p:pic>
      <p:sp>
        <p:nvSpPr>
          <p:cNvPr id="45" name="文本框 44">
            <a:extLst>
              <a:ext uri="{FF2B5EF4-FFF2-40B4-BE49-F238E27FC236}">
                <a16:creationId xmlns:a16="http://schemas.microsoft.com/office/drawing/2014/main" id="{586FBF1E-ABB5-FE0F-8E17-409880622841}"/>
              </a:ext>
            </a:extLst>
          </p:cNvPr>
          <p:cNvSpPr txBox="1"/>
          <p:nvPr/>
        </p:nvSpPr>
        <p:spPr>
          <a:xfrm>
            <a:off x="4809016" y="2223132"/>
            <a:ext cx="41817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altLang="zh-CN" sz="3200" dirty="0">
                <a:solidFill>
                  <a:srgbClr val="0070C0"/>
                </a:solidFill>
                <a:cs typeface="Calibri"/>
              </a:rPr>
              <a:t>*</a:t>
            </a:r>
            <a:endParaRPr lang="zh-CN" altLang="en-US" sz="3200" dirty="0">
              <a:solidFill>
                <a:srgbClr val="0070C0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802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4954" y="212146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>
                <a:latin typeface="Georgia"/>
              </a:rPr>
              <a:t>Code2: Metrics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1C1147-41EA-4C0E-8375-B1195FE3003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7">
            <a:extLst>
              <a:ext uri="{FF2B5EF4-FFF2-40B4-BE49-F238E27FC236}">
                <a16:creationId xmlns:a16="http://schemas.microsoft.com/office/drawing/2014/main" id="{7E2897C2-2A61-2A9A-71A1-C87BCCB0F7A1}"/>
              </a:ext>
            </a:extLst>
          </p:cNvPr>
          <p:cNvSpPr/>
          <p:nvPr/>
        </p:nvSpPr>
        <p:spPr>
          <a:xfrm>
            <a:off x="111882" y="1180521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7">
            <a:extLst>
              <a:ext uri="{FF2B5EF4-FFF2-40B4-BE49-F238E27FC236}">
                <a16:creationId xmlns:a16="http://schemas.microsoft.com/office/drawing/2014/main" id="{F79D73F4-9EF0-C25D-0F2F-F40301506AE9}"/>
              </a:ext>
            </a:extLst>
          </p:cNvPr>
          <p:cNvSpPr/>
          <p:nvPr/>
        </p:nvSpPr>
        <p:spPr>
          <a:xfrm>
            <a:off x="111882" y="3699932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Resul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7">
            <a:extLst>
              <a:ext uri="{FF2B5EF4-FFF2-40B4-BE49-F238E27FC236}">
                <a16:creationId xmlns:a16="http://schemas.microsoft.com/office/drawing/2014/main" id="{D44B95E3-529B-8E1F-ADE5-E36058C44097}"/>
              </a:ext>
            </a:extLst>
          </p:cNvPr>
          <p:cNvSpPr/>
          <p:nvPr/>
        </p:nvSpPr>
        <p:spPr>
          <a:xfrm>
            <a:off x="111882" y="5704568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Highligh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id="{23E34560-C03A-9CB2-A1E3-9746AC9177AE}"/>
              </a:ext>
            </a:extLst>
          </p:cNvPr>
          <p:cNvSpPr txBox="1"/>
          <p:nvPr/>
        </p:nvSpPr>
        <p:spPr>
          <a:xfrm>
            <a:off x="1927834" y="5919028"/>
            <a:ext cx="6677102" cy="3539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2300" dirty="0">
                <a:solidFill>
                  <a:srgbClr val="0070C0"/>
                </a:solidFill>
                <a:latin typeface="Calibri"/>
                <a:cs typeface="Calibri"/>
              </a:rPr>
              <a:t>*</a:t>
            </a:r>
            <a:r>
              <a:rPr lang="en-US" sz="2300" dirty="0">
                <a:latin typeface="Calibri"/>
                <a:cs typeface="Calibri"/>
              </a:rPr>
              <a:t> Used </a:t>
            </a:r>
            <a:r>
              <a:rPr lang="en-US" sz="2300" dirty="0" err="1">
                <a:latin typeface="Calibri"/>
                <a:cs typeface="Calibri"/>
              </a:rPr>
              <a:t>Json</a:t>
            </a:r>
            <a:r>
              <a:rPr lang="en-US" sz="2300" dirty="0">
                <a:latin typeface="Calibri"/>
                <a:cs typeface="Calibri"/>
              </a:rPr>
              <a:t> function for converting to </a:t>
            </a:r>
            <a:r>
              <a:rPr lang="en-US" sz="2300" dirty="0" err="1">
                <a:latin typeface="Calibri"/>
                <a:cs typeface="Calibri"/>
              </a:rPr>
              <a:t>dataframe</a:t>
            </a:r>
            <a:endParaRPr lang="en-US" sz="2300" dirty="0">
              <a:latin typeface="Calibri"/>
              <a:cs typeface="Calibri"/>
            </a:endParaRPr>
          </a:p>
        </p:txBody>
      </p:sp>
      <p:pic>
        <p:nvPicPr>
          <p:cNvPr id="9" name="图片 9" descr="图形用户界面, 文本, 应用程序, 聊天或短信&#10;&#10;已自动生成说明">
            <a:extLst>
              <a:ext uri="{FF2B5EF4-FFF2-40B4-BE49-F238E27FC236}">
                <a16:creationId xmlns:a16="http://schemas.microsoft.com/office/drawing/2014/main" id="{F8D54136-A9C5-5C07-78FC-A1DBE1FB28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5278" y="828496"/>
            <a:ext cx="7359168" cy="3731714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F97FCEA2-E430-712B-606B-1C83B3DC569C}"/>
              </a:ext>
            </a:extLst>
          </p:cNvPr>
          <p:cNvSpPr txBox="1"/>
          <p:nvPr/>
        </p:nvSpPr>
        <p:spPr>
          <a:xfrm>
            <a:off x="4758119" y="3823346"/>
            <a:ext cx="39923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altLang="zh-CN" sz="2400" dirty="0">
                <a:solidFill>
                  <a:srgbClr val="0070C0"/>
                </a:solidFill>
                <a:ea typeface="等线"/>
                <a:cs typeface="Calibri"/>
              </a:rPr>
              <a:t>*</a:t>
            </a:r>
            <a:endParaRPr lang="zh-CN" altLang="en-US" sz="2400" dirty="0">
              <a:solidFill>
                <a:srgbClr val="0070C0"/>
              </a:solidFill>
            </a:endParaRPr>
          </a:p>
        </p:txBody>
      </p:sp>
      <p:pic>
        <p:nvPicPr>
          <p:cNvPr id="15" name="图片 15" descr="表格&#10;&#10;已自动生成说明">
            <a:extLst>
              <a:ext uri="{FF2B5EF4-FFF2-40B4-BE49-F238E27FC236}">
                <a16:creationId xmlns:a16="http://schemas.microsoft.com/office/drawing/2014/main" id="{84856C47-42C1-709F-1C58-440BBD5A7B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730"/>
          <a:stretch/>
        </p:blipFill>
        <p:spPr>
          <a:xfrm>
            <a:off x="-1" y="4560210"/>
            <a:ext cx="12161521" cy="1095593"/>
          </a:xfrm>
          <a:prstGeom prst="rect">
            <a:avLst/>
          </a:prstGeom>
        </p:spPr>
      </p:pic>
      <p:sp>
        <p:nvSpPr>
          <p:cNvPr id="16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354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4954" y="212146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>
                <a:latin typeface="Georgia"/>
              </a:rPr>
              <a:t>Code3: Period Pric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7">
            <a:extLst>
              <a:ext uri="{FF2B5EF4-FFF2-40B4-BE49-F238E27FC236}">
                <a16:creationId xmlns:a16="http://schemas.microsoft.com/office/drawing/2014/main" id="{7E2897C2-2A61-2A9A-71A1-C87BCCB0F7A1}"/>
              </a:ext>
            </a:extLst>
          </p:cNvPr>
          <p:cNvSpPr/>
          <p:nvPr/>
        </p:nvSpPr>
        <p:spPr>
          <a:xfrm>
            <a:off x="111884" y="1562917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7">
            <a:extLst>
              <a:ext uri="{FF2B5EF4-FFF2-40B4-BE49-F238E27FC236}">
                <a16:creationId xmlns:a16="http://schemas.microsoft.com/office/drawing/2014/main" id="{F79D73F4-9EF0-C25D-0F2F-F40301506AE9}"/>
              </a:ext>
            </a:extLst>
          </p:cNvPr>
          <p:cNvSpPr/>
          <p:nvPr/>
        </p:nvSpPr>
        <p:spPr>
          <a:xfrm>
            <a:off x="111883" y="3746697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Resul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7">
            <a:extLst>
              <a:ext uri="{FF2B5EF4-FFF2-40B4-BE49-F238E27FC236}">
                <a16:creationId xmlns:a16="http://schemas.microsoft.com/office/drawing/2014/main" id="{D44B95E3-529B-8E1F-ADE5-E36058C44097}"/>
              </a:ext>
            </a:extLst>
          </p:cNvPr>
          <p:cNvSpPr/>
          <p:nvPr/>
        </p:nvSpPr>
        <p:spPr>
          <a:xfrm>
            <a:off x="111884" y="5233527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Highligh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id="{23E34560-C03A-9CB2-A1E3-9746AC9177AE}"/>
              </a:ext>
            </a:extLst>
          </p:cNvPr>
          <p:cNvSpPr txBox="1"/>
          <p:nvPr/>
        </p:nvSpPr>
        <p:spPr>
          <a:xfrm>
            <a:off x="2228494" y="5233598"/>
            <a:ext cx="6677102" cy="121571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300">
                <a:latin typeface="Calibri"/>
                <a:cs typeface="Calibri"/>
              </a:rPr>
              <a:t>Used </a:t>
            </a:r>
            <a:r>
              <a:rPr lang="en-US" sz="2300" err="1">
                <a:latin typeface="Calibri"/>
                <a:cs typeface="Calibri"/>
              </a:rPr>
              <a:t>concat</a:t>
            </a:r>
            <a:r>
              <a:rPr lang="en-US" sz="2300">
                <a:latin typeface="Calibri"/>
                <a:cs typeface="Calibri"/>
              </a:rPr>
              <a:t> </a:t>
            </a:r>
            <a:r>
              <a:rPr lang="en-US" sz="2300" err="1">
                <a:latin typeface="Calibri"/>
                <a:cs typeface="Calibri"/>
              </a:rPr>
              <a:t>funcation</a:t>
            </a:r>
            <a:r>
              <a:rPr lang="en-US" sz="2300">
                <a:latin typeface="Calibri"/>
                <a:cs typeface="Calibri"/>
              </a:rPr>
              <a:t> combined </a:t>
            </a:r>
            <a:r>
              <a:rPr lang="en-US" sz="2300" err="1">
                <a:latin typeface="Calibri"/>
                <a:cs typeface="Calibri"/>
              </a:rPr>
              <a:t>dataframes</a:t>
            </a:r>
          </a:p>
          <a:p>
            <a:pPr marL="342900" indent="-342900">
              <a:spcAft>
                <a:spcPts val="600"/>
              </a:spcAft>
              <a:buAutoNum type="arabicPeriod"/>
            </a:pPr>
            <a:r>
              <a:rPr lang="en-US" sz="2300">
                <a:ea typeface="+mn-lt"/>
                <a:cs typeface="+mn-lt"/>
              </a:rPr>
              <a:t>Added the serial number under column A</a:t>
            </a:r>
            <a:endParaRPr lang="en-US" sz="2300">
              <a:latin typeface="Calibri"/>
              <a:cs typeface="Calibri"/>
            </a:endParaRPr>
          </a:p>
          <a:p>
            <a:pPr marL="342900" indent="-342900">
              <a:spcAft>
                <a:spcPts val="600"/>
              </a:spcAft>
              <a:buAutoNum type="arabicPeriod"/>
            </a:pPr>
            <a:endParaRPr lang="en-US" sz="2300">
              <a:latin typeface="Calibri"/>
              <a:cs typeface="Calibri"/>
            </a:endParaRPr>
          </a:p>
        </p:txBody>
      </p:sp>
      <p:pic>
        <p:nvPicPr>
          <p:cNvPr id="7" name="图片 7" descr="图形用户界面, 文本, 应用程序, 聊天或短信&#10;&#10;已自动生成说明">
            <a:extLst>
              <a:ext uri="{FF2B5EF4-FFF2-40B4-BE49-F238E27FC236}">
                <a16:creationId xmlns:a16="http://schemas.microsoft.com/office/drawing/2014/main" id="{944894F4-768E-424E-5BBA-FA911BD440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2254" y="948627"/>
            <a:ext cx="9647662" cy="2321622"/>
          </a:xfrm>
          <a:prstGeom prst="rect">
            <a:avLst/>
          </a:prstGeom>
        </p:spPr>
      </p:pic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45541E9A-5348-AC4A-1700-D29B2BBC0E53}"/>
              </a:ext>
            </a:extLst>
          </p:cNvPr>
          <p:cNvCxnSpPr/>
          <p:nvPr/>
        </p:nvCxnSpPr>
        <p:spPr>
          <a:xfrm flipV="1">
            <a:off x="6047679" y="2589871"/>
            <a:ext cx="1077021" cy="557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5FB08621-377A-46AA-8B62-857923344426}"/>
              </a:ext>
            </a:extLst>
          </p:cNvPr>
          <p:cNvSpPr txBox="1"/>
          <p:nvPr/>
        </p:nvSpPr>
        <p:spPr>
          <a:xfrm>
            <a:off x="7211122" y="2411450"/>
            <a:ext cx="41817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zh-CN" altLang="en-US">
                <a:ea typeface="等线"/>
                <a:cs typeface="Calibri"/>
              </a:rPr>
              <a:t>1</a:t>
            </a:r>
            <a:endParaRPr lang="zh-CN" altLang="en-US"/>
          </a:p>
        </p:txBody>
      </p:sp>
      <p:pic>
        <p:nvPicPr>
          <p:cNvPr id="12" name="图片 12" descr="表格&#10;&#10;已自动生成说明">
            <a:extLst>
              <a:ext uri="{FF2B5EF4-FFF2-40B4-BE49-F238E27FC236}">
                <a16:creationId xmlns:a16="http://schemas.microsoft.com/office/drawing/2014/main" id="{FFE271F9-A6F1-D715-8EB9-FCC557CDA1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6498" y="3490813"/>
            <a:ext cx="10061186" cy="1395725"/>
          </a:xfrm>
          <a:prstGeom prst="rect">
            <a:avLst/>
          </a:prstGeom>
        </p:spPr>
      </p:pic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6DE216EB-02EF-153A-05D3-91550718BD6D}"/>
              </a:ext>
            </a:extLst>
          </p:cNvPr>
          <p:cNvCxnSpPr>
            <a:cxnSpLocks/>
          </p:cNvCxnSpPr>
          <p:nvPr/>
        </p:nvCxnSpPr>
        <p:spPr>
          <a:xfrm flipV="1">
            <a:off x="7093105" y="2873297"/>
            <a:ext cx="1077021" cy="557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3038D2DE-C44F-613B-12BC-DB593ECC7691}"/>
              </a:ext>
            </a:extLst>
          </p:cNvPr>
          <p:cNvSpPr txBox="1"/>
          <p:nvPr/>
        </p:nvSpPr>
        <p:spPr>
          <a:xfrm>
            <a:off x="8349475" y="2722754"/>
            <a:ext cx="41817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zh-CN" altLang="en-US">
                <a:ea typeface="等线"/>
                <a:cs typeface="Calibri"/>
              </a:rPr>
              <a:t>2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5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68783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4954" y="212146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latin typeface="Georgia"/>
              </a:rPr>
              <a:t>Code4: Market Capitalization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7">
            <a:extLst>
              <a:ext uri="{FF2B5EF4-FFF2-40B4-BE49-F238E27FC236}">
                <a16:creationId xmlns:a16="http://schemas.microsoft.com/office/drawing/2014/main" id="{7E2897C2-2A61-2A9A-71A1-C87BCCB0F7A1}"/>
              </a:ext>
            </a:extLst>
          </p:cNvPr>
          <p:cNvSpPr/>
          <p:nvPr/>
        </p:nvSpPr>
        <p:spPr>
          <a:xfrm>
            <a:off x="111883" y="989177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 panose="020B0604020202020204" pitchFamily="34" charset="0"/>
                <a:cs typeface="Arial" panose="020B0604020202020204" pitchFamily="34" charset="0"/>
              </a:rPr>
              <a:t>Code</a:t>
            </a: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7">
            <a:extLst>
              <a:ext uri="{FF2B5EF4-FFF2-40B4-BE49-F238E27FC236}">
                <a16:creationId xmlns:a16="http://schemas.microsoft.com/office/drawing/2014/main" id="{F79D73F4-9EF0-C25D-0F2F-F40301506AE9}"/>
              </a:ext>
            </a:extLst>
          </p:cNvPr>
          <p:cNvSpPr/>
          <p:nvPr/>
        </p:nvSpPr>
        <p:spPr>
          <a:xfrm>
            <a:off x="111883" y="3948586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Resul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7">
            <a:extLst>
              <a:ext uri="{FF2B5EF4-FFF2-40B4-BE49-F238E27FC236}">
                <a16:creationId xmlns:a16="http://schemas.microsoft.com/office/drawing/2014/main" id="{D44B95E3-529B-8E1F-ADE5-E36058C44097}"/>
              </a:ext>
            </a:extLst>
          </p:cNvPr>
          <p:cNvSpPr/>
          <p:nvPr/>
        </p:nvSpPr>
        <p:spPr>
          <a:xfrm>
            <a:off x="111884" y="5233527"/>
            <a:ext cx="1544519" cy="93672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>
                <a:latin typeface="Arial"/>
                <a:cs typeface="Arial"/>
              </a:rPr>
              <a:t>Highlight</a:t>
            </a:r>
            <a:endParaRPr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id="{23E34560-C03A-9CB2-A1E3-9746AC9177AE}"/>
              </a:ext>
            </a:extLst>
          </p:cNvPr>
          <p:cNvSpPr txBox="1"/>
          <p:nvPr/>
        </p:nvSpPr>
        <p:spPr>
          <a:xfrm>
            <a:off x="2122449" y="5750441"/>
            <a:ext cx="6677102" cy="3539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2300" dirty="0">
                <a:latin typeface="Calibri"/>
                <a:cs typeface="Calibri"/>
              </a:rPr>
              <a:t>Calculated market capitalization</a:t>
            </a:r>
          </a:p>
        </p:txBody>
      </p:sp>
      <p:pic>
        <p:nvPicPr>
          <p:cNvPr id="7" name="图片 7" descr="图形用户界面, 文本, 应用程序, 聊天或短信&#10;&#10;已自动生成说明">
            <a:extLst>
              <a:ext uri="{FF2B5EF4-FFF2-40B4-BE49-F238E27FC236}">
                <a16:creationId xmlns:a16="http://schemas.microsoft.com/office/drawing/2014/main" id="{1C29C4F7-225B-7DFD-76C8-C737A1E351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2449" y="976164"/>
            <a:ext cx="9034345" cy="2703055"/>
          </a:xfrm>
          <a:prstGeom prst="rect">
            <a:avLst/>
          </a:prstGeom>
        </p:spPr>
      </p:pic>
      <p:pic>
        <p:nvPicPr>
          <p:cNvPr id="8" name="图片 9" descr="表格&#10;&#10;已自动生成说明">
            <a:extLst>
              <a:ext uri="{FF2B5EF4-FFF2-40B4-BE49-F238E27FC236}">
                <a16:creationId xmlns:a16="http://schemas.microsoft.com/office/drawing/2014/main" id="{320B9FDC-1D34-8DBD-EFC4-7568CE07B9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449" y="4014467"/>
            <a:ext cx="4099227" cy="1400726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solidFill>
                  <a:prstClr val="white"/>
                </a:solidFill>
                <a:latin typeface="Calibri" panose="020F0502020204030204"/>
              </a:rPr>
              <a:t>6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7079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58423" cy="500392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latin typeface="Georgia"/>
              </a:rPr>
              <a:t>Alteryx for Data Clean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B6759-AB85-AC42-7A9B-BE197C73BCDB}"/>
              </a:ext>
            </a:extLst>
          </p:cNvPr>
          <p:cNvSpPr/>
          <p:nvPr/>
        </p:nvSpPr>
        <p:spPr>
          <a:xfrm>
            <a:off x="11580935" y="6096000"/>
            <a:ext cx="153865" cy="153865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1C1147-41EA-4C0E-8375-B1195FE30038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8" descr="Timeline&#10;&#10;Description automatically generated">
            <a:extLst>
              <a:ext uri="{FF2B5EF4-FFF2-40B4-BE49-F238E27FC236}">
                <a16:creationId xmlns:a16="http://schemas.microsoft.com/office/drawing/2014/main" id="{A3EDF9B9-9120-D600-EFC6-977A709EDA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332" y="1236158"/>
            <a:ext cx="8838736" cy="3823054"/>
          </a:xfrm>
          <a:prstGeom prst="rect">
            <a:avLst/>
          </a:prstGeom>
        </p:spPr>
      </p:pic>
      <p:pic>
        <p:nvPicPr>
          <p:cNvPr id="8" name="Picture 6" descr="image">
            <a:extLst>
              <a:ext uri="{FF2B5EF4-FFF2-40B4-BE49-F238E27FC236}">
                <a16:creationId xmlns:a16="http://schemas.microsoft.com/office/drawing/2014/main" id="{D225BB88-0CF9-A251-4FEA-88E4EB7E0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442" y="5091906"/>
            <a:ext cx="10372725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034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fld id="{781C1147-41EA-4C0E-8375-B1195FE30038}" type="slidenum">
              <a:rPr lang="en-US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8</a:t>
            </a:fld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1BF2F6-9E1C-5B70-BCEE-CFEE86324033}"/>
              </a:ext>
            </a:extLst>
          </p:cNvPr>
          <p:cNvSpPr txBox="1"/>
          <p:nvPr/>
        </p:nvSpPr>
        <p:spPr>
          <a:xfrm>
            <a:off x="6849978" y="2791429"/>
            <a:ext cx="1973179" cy="30162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Sell: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1. SPPI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2. GTLS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3. ASTE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4. CTSH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5. RGNX</a:t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D5B6759-D6E8-3AEA-2E2E-BF9FA82BD088}"/>
              </a:ext>
            </a:extLst>
          </p:cNvPr>
          <p:cNvSpPr/>
          <p:nvPr/>
        </p:nvSpPr>
        <p:spPr>
          <a:xfrm>
            <a:off x="11580935" y="6099603"/>
            <a:ext cx="153865" cy="153865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74FF20D-6A3A-E80C-403E-F42C0247F174}"/>
              </a:ext>
            </a:extLst>
          </p:cNvPr>
          <p:cNvCxnSpPr/>
          <p:nvPr/>
        </p:nvCxnSpPr>
        <p:spPr>
          <a:xfrm flipH="1">
            <a:off x="7061200" y="6176535"/>
            <a:ext cx="4392566" cy="0"/>
          </a:xfrm>
          <a:prstGeom prst="straightConnector1">
            <a:avLst/>
          </a:prstGeom>
          <a:ln>
            <a:solidFill>
              <a:srgbClr val="FD6E1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D2E07F9-411E-9BB8-F183-760942873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811" y="1326687"/>
            <a:ext cx="9144000" cy="3365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2D68A4-FBE2-65E4-9A48-274E3162983D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58423" cy="500392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latin typeface="Georgia"/>
              </a:rPr>
              <a:t>Alteryx for Data Cleaning</a:t>
            </a:r>
          </a:p>
        </p:txBody>
      </p:sp>
      <p:pic>
        <p:nvPicPr>
          <p:cNvPr id="3" name="Picture 10" descr="image">
            <a:extLst>
              <a:ext uri="{FF2B5EF4-FFF2-40B4-BE49-F238E27FC236}">
                <a16:creationId xmlns:a16="http://schemas.microsoft.com/office/drawing/2014/main" id="{ACAC5219-22C8-2D0D-95B2-B61A49B25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510730"/>
            <a:ext cx="11268075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3506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building, outdoor, sky, city&#10;&#10;Description automatically generated">
            <a:extLst>
              <a:ext uri="{FF2B5EF4-FFF2-40B4-BE49-F238E27FC236}">
                <a16:creationId xmlns:a16="http://schemas.microsoft.com/office/drawing/2014/main" id="{372233C3-323F-2A7D-349A-178498C9AF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/>
          <a:stretch>
            <a:fillRect/>
          </a:stretch>
        </p:blipFill>
        <p:spPr>
          <a:xfrm>
            <a:off x="3" y="1181221"/>
            <a:ext cx="12191997" cy="2452730"/>
          </a:xfrm>
          <a:custGeom>
            <a:avLst/>
            <a:gdLst>
              <a:gd name="connsiteX0" fmla="*/ 0 w 9690846"/>
              <a:gd name="connsiteY0" fmla="*/ 0 h 1949560"/>
              <a:gd name="connsiteX1" fmla="*/ 9690846 w 9690846"/>
              <a:gd name="connsiteY1" fmla="*/ 0 h 1949560"/>
              <a:gd name="connsiteX2" fmla="*/ 9690846 w 9690846"/>
              <a:gd name="connsiteY2" fmla="*/ 1949560 h 1949560"/>
              <a:gd name="connsiteX3" fmla="*/ 0 w 9690846"/>
              <a:gd name="connsiteY3" fmla="*/ 1949560 h 194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90846" h="1949560">
                <a:moveTo>
                  <a:pt x="0" y="0"/>
                </a:moveTo>
                <a:lnTo>
                  <a:pt x="9690846" y="0"/>
                </a:lnTo>
                <a:lnTo>
                  <a:pt x="9690846" y="1949560"/>
                </a:lnTo>
                <a:lnTo>
                  <a:pt x="0" y="1949560"/>
                </a:lnTo>
                <a:close/>
              </a:path>
            </a:pathLst>
          </a:cu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8BCD6AC-DC60-B818-8C20-D7F08AAB3C29}"/>
              </a:ext>
            </a:extLst>
          </p:cNvPr>
          <p:cNvSpPr/>
          <p:nvPr/>
        </p:nvSpPr>
        <p:spPr>
          <a:xfrm>
            <a:off x="0" y="1181221"/>
            <a:ext cx="12192000" cy="245273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1EFEB-0A2E-F53B-A63F-F3E9DCE10B4A}"/>
              </a:ext>
            </a:extLst>
          </p:cNvPr>
          <p:cNvSpPr txBox="1">
            <a:spLocks/>
          </p:cNvSpPr>
          <p:nvPr/>
        </p:nvSpPr>
        <p:spPr>
          <a:xfrm>
            <a:off x="609600" y="472341"/>
            <a:ext cx="10972800" cy="70167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Georgia" panose="02040502050405020303" pitchFamily="18" charset="0"/>
              </a:rPr>
              <a:t>Portfolio Analysi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7B6759-AB85-AC42-7A9B-BE197C73BCDB}"/>
              </a:ext>
            </a:extLst>
          </p:cNvPr>
          <p:cNvSpPr/>
          <p:nvPr/>
        </p:nvSpPr>
        <p:spPr>
          <a:xfrm>
            <a:off x="11580935" y="6096000"/>
            <a:ext cx="153865" cy="153865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8732A5-6043-5CCD-B127-60B9611075CA}"/>
              </a:ext>
            </a:extLst>
          </p:cNvPr>
          <p:cNvCxnSpPr>
            <a:cxnSpLocks/>
          </p:cNvCxnSpPr>
          <p:nvPr/>
        </p:nvCxnSpPr>
        <p:spPr>
          <a:xfrm>
            <a:off x="0" y="6439632"/>
            <a:ext cx="11201400" cy="0"/>
          </a:xfrm>
          <a:prstGeom prst="line">
            <a:avLst/>
          </a:prstGeom>
          <a:ln>
            <a:solidFill>
              <a:srgbClr val="D04A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71F48-C821-6808-221A-4B2BA9427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399" y="6257070"/>
            <a:ext cx="379536" cy="365125"/>
          </a:xfrm>
        </p:spPr>
        <p:txBody>
          <a:bodyPr lIns="0" tIns="0" rIns="0" bIns="0"/>
          <a:lstStyle/>
          <a:p>
            <a:pPr algn="ctr"/>
            <a:r>
              <a:rPr 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fld id="{781C1147-41EA-4C0E-8375-B1195FE30038}" type="slidenum">
              <a:rPr lang="en-US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9</a:t>
            </a:fld>
            <a:endParaRPr lang="en-US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884A1AB-617D-647E-F91D-8C6FD908A83D}"/>
              </a:ext>
            </a:extLst>
          </p:cNvPr>
          <p:cNvSpPr/>
          <p:nvPr/>
        </p:nvSpPr>
        <p:spPr>
          <a:xfrm>
            <a:off x="454812" y="4375176"/>
            <a:ext cx="5657230" cy="1624459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CC9A744-1699-4B60-00BE-A8A2380EC7C2}"/>
              </a:ext>
            </a:extLst>
          </p:cNvPr>
          <p:cNvSpPr/>
          <p:nvPr/>
        </p:nvSpPr>
        <p:spPr>
          <a:xfrm>
            <a:off x="7242912" y="4375176"/>
            <a:ext cx="3443632" cy="1624459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449156-2542-B873-40C3-E4F1B1B10A46}"/>
              </a:ext>
            </a:extLst>
          </p:cNvPr>
          <p:cNvSpPr/>
          <p:nvPr/>
        </p:nvSpPr>
        <p:spPr>
          <a:xfrm>
            <a:off x="5630389" y="4192614"/>
            <a:ext cx="624344" cy="6243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  <a:endParaRPr lang="en-ID" sz="20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9CBE1C-EC6D-BB03-655C-6A02641743CE}"/>
              </a:ext>
            </a:extLst>
          </p:cNvPr>
          <p:cNvSpPr/>
          <p:nvPr/>
        </p:nvSpPr>
        <p:spPr>
          <a:xfrm>
            <a:off x="10204500" y="4190828"/>
            <a:ext cx="624344" cy="6243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  <a:endParaRPr lang="en-ID" sz="2000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934992F-228A-107D-DCCA-10B1005FCE16}"/>
              </a:ext>
            </a:extLst>
          </p:cNvPr>
          <p:cNvSpPr txBox="1"/>
          <p:nvPr/>
        </p:nvSpPr>
        <p:spPr>
          <a:xfrm>
            <a:off x="572067" y="4630506"/>
            <a:ext cx="5299344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s of company shares only</a:t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 bonds, ETFs,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cy, etc.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D9B38F3-4AC1-2961-0E02-26FAD0E907E6}"/>
              </a:ext>
            </a:extLst>
          </p:cNvPr>
          <p:cNvSpPr txBox="1"/>
          <p:nvPr/>
        </p:nvSpPr>
        <p:spPr>
          <a:xfrm>
            <a:off x="7388129" y="4630506"/>
            <a:ext cx="2646161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volatility of stock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6538031-7AF9-C53B-6474-4170E73D4EC7}"/>
              </a:ext>
            </a:extLst>
          </p:cNvPr>
          <p:cNvSpPr txBox="1"/>
          <p:nvPr/>
        </p:nvSpPr>
        <p:spPr>
          <a:xfrm>
            <a:off x="8140273" y="4630506"/>
            <a:ext cx="299451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1F1EAAA-2640-268D-A4BE-B7EA701A7BCE}"/>
              </a:ext>
            </a:extLst>
          </p:cNvPr>
          <p:cNvSpPr/>
          <p:nvPr/>
        </p:nvSpPr>
        <p:spPr>
          <a:xfrm>
            <a:off x="1142360" y="1410319"/>
            <a:ext cx="9992425" cy="17858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ABE72D-69D6-354C-5742-A04977AEF9DC}"/>
              </a:ext>
            </a:extLst>
          </p:cNvPr>
          <p:cNvSpPr/>
          <p:nvPr/>
        </p:nvSpPr>
        <p:spPr>
          <a:xfrm>
            <a:off x="609600" y="1646358"/>
            <a:ext cx="1004103" cy="10041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E8996EC-2F63-A419-9404-34E554FA4BF9}"/>
              </a:ext>
            </a:extLst>
          </p:cNvPr>
          <p:cNvGrpSpPr/>
          <p:nvPr/>
        </p:nvGrpSpPr>
        <p:grpSpPr>
          <a:xfrm>
            <a:off x="885945" y="1939268"/>
            <a:ext cx="451413" cy="418282"/>
            <a:chOff x="6283326" y="3989388"/>
            <a:chExt cx="346075" cy="320675"/>
          </a:xfrm>
        </p:grpSpPr>
        <p:sp>
          <p:nvSpPr>
            <p:cNvPr id="70" name="Oval 167">
              <a:extLst>
                <a:ext uri="{FF2B5EF4-FFF2-40B4-BE49-F238E27FC236}">
                  <a16:creationId xmlns:a16="http://schemas.microsoft.com/office/drawing/2014/main" id="{EFE5857B-9264-AB01-914A-D5F335F86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3326" y="4159250"/>
              <a:ext cx="150813" cy="150813"/>
            </a:xfrm>
            <a:prstGeom prst="ellips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3" name="Freeform 168">
              <a:extLst>
                <a:ext uri="{FF2B5EF4-FFF2-40B4-BE49-F238E27FC236}">
                  <a16:creationId xmlns:a16="http://schemas.microsoft.com/office/drawing/2014/main" id="{CA97BE23-4E64-B792-EDE0-45799ED3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3989388"/>
              <a:ext cx="134938" cy="200025"/>
            </a:xfrm>
            <a:custGeom>
              <a:avLst/>
              <a:gdLst>
                <a:gd name="T0" fmla="*/ 36 w 36"/>
                <a:gd name="T1" fmla="*/ 19 h 53"/>
                <a:gd name="T2" fmla="*/ 36 w 36"/>
                <a:gd name="T3" fmla="*/ 3 h 53"/>
                <a:gd name="T4" fmla="*/ 24 w 36"/>
                <a:gd name="T5" fmla="*/ 3 h 53"/>
                <a:gd name="T6" fmla="*/ 18 w 36"/>
                <a:gd name="T7" fmla="*/ 19 h 53"/>
                <a:gd name="T8" fmla="*/ 12 w 36"/>
                <a:gd name="T9" fmla="*/ 25 h 53"/>
                <a:gd name="T10" fmla="*/ 0 w 36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3">
                  <a:moveTo>
                    <a:pt x="36" y="19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3" y="0"/>
                    <a:pt x="27" y="0"/>
                    <a:pt x="24" y="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Oval 169">
              <a:extLst>
                <a:ext uri="{FF2B5EF4-FFF2-40B4-BE49-F238E27FC236}">
                  <a16:creationId xmlns:a16="http://schemas.microsoft.com/office/drawing/2014/main" id="{9604AF67-A7EC-0289-792B-F79182C8D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8588" y="4159250"/>
              <a:ext cx="150813" cy="150813"/>
            </a:xfrm>
            <a:prstGeom prst="ellips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170">
              <a:extLst>
                <a:ext uri="{FF2B5EF4-FFF2-40B4-BE49-F238E27FC236}">
                  <a16:creationId xmlns:a16="http://schemas.microsoft.com/office/drawing/2014/main" id="{53584096-2BE5-1319-BE2B-E37C0F495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8588" y="3989388"/>
              <a:ext cx="136525" cy="200025"/>
            </a:xfrm>
            <a:custGeom>
              <a:avLst/>
              <a:gdLst>
                <a:gd name="T0" fmla="*/ 0 w 36"/>
                <a:gd name="T1" fmla="*/ 19 h 53"/>
                <a:gd name="T2" fmla="*/ 0 w 36"/>
                <a:gd name="T3" fmla="*/ 3 h 53"/>
                <a:gd name="T4" fmla="*/ 12 w 36"/>
                <a:gd name="T5" fmla="*/ 3 h 53"/>
                <a:gd name="T6" fmla="*/ 18 w 36"/>
                <a:gd name="T7" fmla="*/ 19 h 53"/>
                <a:gd name="T8" fmla="*/ 24 w 36"/>
                <a:gd name="T9" fmla="*/ 25 h 53"/>
                <a:gd name="T10" fmla="*/ 36 w 36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3">
                  <a:moveTo>
                    <a:pt x="0" y="19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0"/>
                    <a:pt x="9" y="0"/>
                    <a:pt x="12" y="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36" y="53"/>
                    <a:pt x="36" y="53"/>
                    <a:pt x="36" y="53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171">
              <a:extLst>
                <a:ext uri="{FF2B5EF4-FFF2-40B4-BE49-F238E27FC236}">
                  <a16:creationId xmlns:a16="http://schemas.microsoft.com/office/drawing/2014/main" id="{29D79870-F344-22BA-215B-413431651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4090988"/>
              <a:ext cx="120650" cy="30163"/>
            </a:xfrm>
            <a:custGeom>
              <a:avLst/>
              <a:gdLst>
                <a:gd name="T0" fmla="*/ 0 w 32"/>
                <a:gd name="T1" fmla="*/ 8 h 8"/>
                <a:gd name="T2" fmla="*/ 16 w 32"/>
                <a:gd name="T3" fmla="*/ 0 h 8"/>
                <a:gd name="T4" fmla="*/ 32 w 3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8">
                  <a:moveTo>
                    <a:pt x="0" y="8"/>
                  </a:moveTo>
                  <a:cubicBezTo>
                    <a:pt x="0" y="4"/>
                    <a:pt x="7" y="0"/>
                    <a:pt x="16" y="0"/>
                  </a:cubicBezTo>
                  <a:cubicBezTo>
                    <a:pt x="25" y="0"/>
                    <a:pt x="32" y="4"/>
                    <a:pt x="32" y="8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Line 172">
              <a:extLst>
                <a:ext uri="{FF2B5EF4-FFF2-40B4-BE49-F238E27FC236}">
                  <a16:creationId xmlns:a16="http://schemas.microsoft.com/office/drawing/2014/main" id="{EE94C2A1-7B9C-6E37-E0F0-8F7BC25BAB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34138" y="4095750"/>
              <a:ext cx="0" cy="138113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173">
              <a:extLst>
                <a:ext uri="{FF2B5EF4-FFF2-40B4-BE49-F238E27FC236}">
                  <a16:creationId xmlns:a16="http://schemas.microsoft.com/office/drawing/2014/main" id="{173597BB-5197-9A2E-9801-18B8D6B893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78588" y="4095750"/>
              <a:ext cx="0" cy="138113"/>
            </a:xfrm>
            <a:prstGeom prst="line">
              <a:avLst/>
            </a:pr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174">
              <a:extLst>
                <a:ext uri="{FF2B5EF4-FFF2-40B4-BE49-F238E27FC236}">
                  <a16:creationId xmlns:a16="http://schemas.microsoft.com/office/drawing/2014/main" id="{A0859F31-015E-E1AD-71A9-5F7AA8C2F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488" y="4189413"/>
              <a:ext cx="46038" cy="444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175">
              <a:extLst>
                <a:ext uri="{FF2B5EF4-FFF2-40B4-BE49-F238E27FC236}">
                  <a16:creationId xmlns:a16="http://schemas.microsoft.com/office/drawing/2014/main" id="{ECDC0B68-A653-83A6-BD52-172198C6A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8751" y="4189413"/>
              <a:ext cx="46038" cy="444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6"/>
                    <a:pt x="5" y="0"/>
                    <a:pt x="12" y="0"/>
                  </a:cubicBezTo>
                </a:path>
              </a:pathLst>
            </a:custGeom>
            <a:noFill/>
            <a:ln w="1428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910755" y="1818407"/>
            <a:ext cx="4713085" cy="83099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2400" dirty="0"/>
              <a:t>Most likely the given portfolio is</a:t>
            </a:r>
            <a:br>
              <a:rPr lang="en-US" sz="2400" dirty="0"/>
            </a:br>
            <a:r>
              <a:rPr lang="en-US" sz="2400" dirty="0"/>
              <a:t>Highly risky and short-term strategy</a:t>
            </a:r>
            <a:endParaRPr lang="ru-RU" sz="2400" dirty="0"/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0676E4F9-D71E-8563-9A6B-26D130779534}"/>
              </a:ext>
            </a:extLst>
          </p:cNvPr>
          <p:cNvSpPr/>
          <p:nvPr/>
        </p:nvSpPr>
        <p:spPr>
          <a:xfrm>
            <a:off x="11201400" y="6249865"/>
            <a:ext cx="379535" cy="37953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9103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575</Words>
  <Application>Microsoft Office PowerPoint</Application>
  <PresentationFormat>Widescreen</PresentationFormat>
  <Paragraphs>119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-apple-system</vt:lpstr>
      <vt:lpstr>Arial</vt:lpstr>
      <vt:lpstr>Calibri</vt:lpstr>
      <vt:lpstr>Calibri Light</vt:lpstr>
      <vt:lpstr>Garamond</vt:lpstr>
      <vt:lpstr>Georgia</vt:lpstr>
      <vt:lpstr>Roboto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24slides14</dc:creator>
  <cp:lastModifiedBy>Pandya Vivek</cp:lastModifiedBy>
  <cp:revision>19</cp:revision>
  <dcterms:created xsi:type="dcterms:W3CDTF">2022-08-18T01:40:45Z</dcterms:created>
  <dcterms:modified xsi:type="dcterms:W3CDTF">2023-01-23T10:32:30Z</dcterms:modified>
</cp:coreProperties>
</file>